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2" r:id="rId6"/>
  </p:sldMasterIdLst>
  <p:notesMasterIdLst>
    <p:notesMasterId r:id="rId8"/>
  </p:notesMasterIdLst>
  <p:sldIdLst>
    <p:sldId id="417" r:id="rId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0" userDrawn="1">
          <p15:clr>
            <a:srgbClr val="A4A3A4"/>
          </p15:clr>
        </p15:guide>
        <p15:guide id="2" pos="937" userDrawn="1">
          <p15:clr>
            <a:srgbClr val="A4A3A4"/>
          </p15:clr>
        </p15:guide>
        <p15:guide id="3" pos="6743" userDrawn="1">
          <p15:clr>
            <a:srgbClr val="A4A3A4"/>
          </p15:clr>
        </p15:guide>
        <p15:guide id="4" orient="horz" pos="1185" userDrawn="1">
          <p15:clr>
            <a:srgbClr val="A4A3A4"/>
          </p15:clr>
        </p15:guide>
        <p15:guide id="5" pos="7333" userDrawn="1">
          <p15:clr>
            <a:srgbClr val="A4A3A4"/>
          </p15:clr>
        </p15:guide>
        <p15:guide id="6" orient="horz" pos="3716" userDrawn="1">
          <p15:clr>
            <a:srgbClr val="A4A3A4"/>
          </p15:clr>
        </p15:guide>
        <p15:guide id="7" orient="horz" pos="377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Raphael (KOM-PGA-VSF)" initials="RMe" lastIdx="1" clrIdx="0">
    <p:extLst>
      <p:ext uri="{19B8F6BF-5375-455C-9EA6-DF929625EA0E}">
        <p15:presenceInfo xmlns:p15="http://schemas.microsoft.com/office/powerpoint/2012/main" userId="Meyer Raphael (KOM-PGA-VS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5E5E5"/>
    <a:srgbClr val="C60018"/>
    <a:srgbClr val="8D8D8D"/>
    <a:srgbClr val="BDBDBD"/>
    <a:srgbClr val="A20013"/>
    <a:srgbClr val="EB0000"/>
    <a:srgbClr val="444444"/>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50" d="100"/>
          <a:sy n="150" d="100"/>
        </p:scale>
        <p:origin x="1200" y="120"/>
      </p:cViewPr>
      <p:guideLst>
        <p:guide orient="horz" pos="3810"/>
        <p:guide pos="937"/>
        <p:guide pos="6743"/>
        <p:guide orient="horz" pos="1185"/>
        <p:guide pos="7333"/>
        <p:guide orient="horz" pos="3716"/>
        <p:guide orient="horz" pos="377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yer Raphael (PAR-ES)" userId="79615dfe-ed48-4e74-a40f-4f7b034c1c27" providerId="ADAL" clId="{6F0F56D4-953D-4686-8DA4-A88D65B96112}"/>
    <pc:docChg chg="modSld sldOrd">
      <pc:chgData name="Meyer Raphael (PAR-ES)" userId="79615dfe-ed48-4e74-a40f-4f7b034c1c27" providerId="ADAL" clId="{6F0F56D4-953D-4686-8DA4-A88D65B96112}" dt="2021-02-08T13:40:24.476" v="0"/>
      <pc:docMkLst>
        <pc:docMk/>
      </pc:docMkLst>
      <pc:sldChg chg="ord">
        <pc:chgData name="Meyer Raphael (PAR-ES)" userId="79615dfe-ed48-4e74-a40f-4f7b034c1c27" providerId="ADAL" clId="{6F0F56D4-953D-4686-8DA4-A88D65B96112}" dt="2021-02-08T13:40:24.476" v="0"/>
        <pc:sldMkLst>
          <pc:docMk/>
          <pc:sldMk cId="277025245" sldId="325"/>
        </pc:sldMkLst>
      </pc:sldChg>
    </pc:docChg>
  </pc:docChgLst>
  <pc:docChgLst>
    <pc:chgData name="Weigel Stefan (PAR-EPS)" userId="fd3b2067-2981-4ad8-bf3a-d2e1004e4fa8" providerId="ADAL" clId="{CF6E0B68-3CEA-4D24-9F72-E43F3172EF36}"/>
    <pc:docChg chg="custSel modSld">
      <pc:chgData name="Weigel Stefan (PAR-EPS)" userId="fd3b2067-2981-4ad8-bf3a-d2e1004e4fa8" providerId="ADAL" clId="{CF6E0B68-3CEA-4D24-9F72-E43F3172EF36}" dt="2024-02-02T11:15:07.499" v="13" actId="27918"/>
      <pc:docMkLst>
        <pc:docMk/>
      </pc:docMkLst>
      <pc:sldChg chg="modSp mod">
        <pc:chgData name="Weigel Stefan (PAR-EPS)" userId="fd3b2067-2981-4ad8-bf3a-d2e1004e4fa8" providerId="ADAL" clId="{CF6E0B68-3CEA-4D24-9F72-E43F3172EF36}" dt="2024-02-02T11:15:07.499" v="13" actId="27918"/>
        <pc:sldMkLst>
          <pc:docMk/>
          <pc:sldMk cId="976233813" sldId="417"/>
        </pc:sldMkLst>
        <pc:spChg chg="mod">
          <ac:chgData name="Weigel Stefan (PAR-EPS)" userId="fd3b2067-2981-4ad8-bf3a-d2e1004e4fa8" providerId="ADAL" clId="{CF6E0B68-3CEA-4D24-9F72-E43F3172EF36}" dt="2024-02-02T11:13:50.770" v="2" actId="20577"/>
          <ac:spMkLst>
            <pc:docMk/>
            <pc:sldMk cId="976233813" sldId="417"/>
            <ac:spMk id="12" creationId="{1A4657D7-3337-475E-8E67-E8F468A949AF}"/>
          </ac:spMkLst>
        </pc:spChg>
      </pc:sldChg>
    </pc:docChg>
  </pc:docChgLst>
  <pc:docChgLst>
    <pc:chgData name="Meyer Raphael (PAR-ES)" userId="79615dfe-ed48-4e74-a40f-4f7b034c1c27" providerId="ADAL" clId="{09C02B11-E0D9-4F5C-A7AC-A38C35D7C045}"/>
    <pc:docChg chg="undo custSel addSld delSld modSld sldOrd">
      <pc:chgData name="Meyer Raphael (PAR-ES)" userId="79615dfe-ed48-4e74-a40f-4f7b034c1c27" providerId="ADAL" clId="{09C02B11-E0D9-4F5C-A7AC-A38C35D7C045}" dt="2021-03-25T08:23:58.620" v="108" actId="47"/>
      <pc:docMkLst>
        <pc:docMk/>
      </pc:docMkLst>
      <pc:sldChg chg="delSp modSp mod">
        <pc:chgData name="Meyer Raphael (PAR-ES)" userId="79615dfe-ed48-4e74-a40f-4f7b034c1c27" providerId="ADAL" clId="{09C02B11-E0D9-4F5C-A7AC-A38C35D7C045}" dt="2021-03-25T08:21:25.365" v="92" actId="478"/>
        <pc:sldMkLst>
          <pc:docMk/>
          <pc:sldMk cId="1667945532" sldId="306"/>
        </pc:sldMkLst>
        <pc:spChg chg="mod">
          <ac:chgData name="Meyer Raphael (PAR-ES)" userId="79615dfe-ed48-4e74-a40f-4f7b034c1c27" providerId="ADAL" clId="{09C02B11-E0D9-4F5C-A7AC-A38C35D7C045}" dt="2021-03-25T08:13:24.018" v="9" actId="20577"/>
          <ac:spMkLst>
            <pc:docMk/>
            <pc:sldMk cId="1667945532" sldId="306"/>
            <ac:spMk id="8" creationId="{5857C2A1-2CB8-4D4A-AEFD-E809BF73D04F}"/>
          </ac:spMkLst>
        </pc:spChg>
        <pc:spChg chg="del">
          <ac:chgData name="Meyer Raphael (PAR-ES)" userId="79615dfe-ed48-4e74-a40f-4f7b034c1c27" providerId="ADAL" clId="{09C02B11-E0D9-4F5C-A7AC-A38C35D7C045}" dt="2021-03-25T08:21:23.157" v="91" actId="478"/>
          <ac:spMkLst>
            <pc:docMk/>
            <pc:sldMk cId="1667945532" sldId="306"/>
            <ac:spMk id="22" creationId="{A4D052E9-A3D0-4D29-96C0-4125FCB1567B}"/>
          </ac:spMkLst>
        </pc:spChg>
        <pc:spChg chg="del">
          <ac:chgData name="Meyer Raphael (PAR-ES)" userId="79615dfe-ed48-4e74-a40f-4f7b034c1c27" providerId="ADAL" clId="{09C02B11-E0D9-4F5C-A7AC-A38C35D7C045}" dt="2021-03-25T08:21:25.365" v="92" actId="478"/>
          <ac:spMkLst>
            <pc:docMk/>
            <pc:sldMk cId="1667945532" sldId="306"/>
            <ac:spMk id="25" creationId="{9772D52D-035A-4D28-AE3A-4F5DD2C31620}"/>
          </ac:spMkLst>
        </pc:spChg>
        <pc:spChg chg="mod">
          <ac:chgData name="Meyer Raphael (PAR-ES)" userId="79615dfe-ed48-4e74-a40f-4f7b034c1c27" providerId="ADAL" clId="{09C02B11-E0D9-4F5C-A7AC-A38C35D7C045}" dt="2021-03-25T08:14:05.362" v="19" actId="20577"/>
          <ac:spMkLst>
            <pc:docMk/>
            <pc:sldMk cId="1667945532" sldId="306"/>
            <ac:spMk id="27" creationId="{46A6B042-39EE-4A58-BBAA-13D52264B660}"/>
          </ac:spMkLst>
        </pc:spChg>
        <pc:spChg chg="mod">
          <ac:chgData name="Meyer Raphael (PAR-ES)" userId="79615dfe-ed48-4e74-a40f-4f7b034c1c27" providerId="ADAL" clId="{09C02B11-E0D9-4F5C-A7AC-A38C35D7C045}" dt="2021-03-25T08:19:01.866" v="65" actId="1076"/>
          <ac:spMkLst>
            <pc:docMk/>
            <pc:sldMk cId="1667945532" sldId="306"/>
            <ac:spMk id="28" creationId="{4492A3CD-6943-423D-BFEC-8129889E8B6F}"/>
          </ac:spMkLst>
        </pc:spChg>
        <pc:spChg chg="mod">
          <ac:chgData name="Meyer Raphael (PAR-ES)" userId="79615dfe-ed48-4e74-a40f-4f7b034c1c27" providerId="ADAL" clId="{09C02B11-E0D9-4F5C-A7AC-A38C35D7C045}" dt="2021-03-25T08:13:40.400" v="15" actId="20577"/>
          <ac:spMkLst>
            <pc:docMk/>
            <pc:sldMk cId="1667945532" sldId="306"/>
            <ac:spMk id="31" creationId="{7491A47D-CAD4-478D-8F3A-296FFCB799F9}"/>
          </ac:spMkLst>
        </pc:spChg>
        <pc:spChg chg="mod">
          <ac:chgData name="Meyer Raphael (PAR-ES)" userId="79615dfe-ed48-4e74-a40f-4f7b034c1c27" providerId="ADAL" clId="{09C02B11-E0D9-4F5C-A7AC-A38C35D7C045}" dt="2021-03-25T08:16:32.332" v="46" actId="1076"/>
          <ac:spMkLst>
            <pc:docMk/>
            <pc:sldMk cId="1667945532" sldId="306"/>
            <ac:spMk id="32" creationId="{E65DDA4F-7190-4D5B-B875-6818D18C9F6E}"/>
          </ac:spMkLst>
        </pc:spChg>
        <pc:cxnChg chg="mod">
          <ac:chgData name="Meyer Raphael (PAR-ES)" userId="79615dfe-ed48-4e74-a40f-4f7b034c1c27" providerId="ADAL" clId="{09C02B11-E0D9-4F5C-A7AC-A38C35D7C045}" dt="2021-03-25T08:16:23.020" v="45" actId="1038"/>
          <ac:cxnSpMkLst>
            <pc:docMk/>
            <pc:sldMk cId="1667945532" sldId="306"/>
            <ac:cxnSpMk id="29" creationId="{FD3E902F-283F-48FC-9504-FF2FF4EA4BF0}"/>
          </ac:cxnSpMkLst>
        </pc:cxnChg>
        <pc:cxnChg chg="mod">
          <ac:chgData name="Meyer Raphael (PAR-ES)" userId="79615dfe-ed48-4e74-a40f-4f7b034c1c27" providerId="ADAL" clId="{09C02B11-E0D9-4F5C-A7AC-A38C35D7C045}" dt="2021-03-25T08:19:09.265" v="71" actId="1035"/>
          <ac:cxnSpMkLst>
            <pc:docMk/>
            <pc:sldMk cId="1667945532" sldId="306"/>
            <ac:cxnSpMk id="30" creationId="{1D702FCA-793F-404B-84D5-F14C318BFFB3}"/>
          </ac:cxnSpMkLst>
        </pc:cxnChg>
      </pc:sldChg>
      <pc:sldChg chg="delSp del mod">
        <pc:chgData name="Meyer Raphael (PAR-ES)" userId="79615dfe-ed48-4e74-a40f-4f7b034c1c27" providerId="ADAL" clId="{09C02B11-E0D9-4F5C-A7AC-A38C35D7C045}" dt="2021-03-25T08:21:39.073" v="93" actId="47"/>
        <pc:sldMkLst>
          <pc:docMk/>
          <pc:sldMk cId="1452322066" sldId="338"/>
        </pc:sldMkLst>
        <pc:spChg chg="del">
          <ac:chgData name="Meyer Raphael (PAR-ES)" userId="79615dfe-ed48-4e74-a40f-4f7b034c1c27" providerId="ADAL" clId="{09C02B11-E0D9-4F5C-A7AC-A38C35D7C045}" dt="2021-03-25T08:21:15.791" v="89" actId="478"/>
          <ac:spMkLst>
            <pc:docMk/>
            <pc:sldMk cId="1452322066" sldId="338"/>
            <ac:spMk id="22" creationId="{A4D052E9-A3D0-4D29-96C0-4125FCB1567B}"/>
          </ac:spMkLst>
        </pc:spChg>
        <pc:spChg chg="del">
          <ac:chgData name="Meyer Raphael (PAR-ES)" userId="79615dfe-ed48-4e74-a40f-4f7b034c1c27" providerId="ADAL" clId="{09C02B11-E0D9-4F5C-A7AC-A38C35D7C045}" dt="2021-03-25T08:21:18.409" v="90" actId="478"/>
          <ac:spMkLst>
            <pc:docMk/>
            <pc:sldMk cId="1452322066" sldId="338"/>
            <ac:spMk id="25" creationId="{9772D52D-035A-4D28-AE3A-4F5DD2C31620}"/>
          </ac:spMkLst>
        </pc:spChg>
      </pc:sldChg>
      <pc:sldChg chg="del">
        <pc:chgData name="Meyer Raphael (PAR-ES)" userId="79615dfe-ed48-4e74-a40f-4f7b034c1c27" providerId="ADAL" clId="{09C02B11-E0D9-4F5C-A7AC-A38C35D7C045}" dt="2021-03-25T08:23:58.620" v="108" actId="47"/>
        <pc:sldMkLst>
          <pc:docMk/>
          <pc:sldMk cId="4038211066" sldId="339"/>
        </pc:sldMkLst>
      </pc:sldChg>
      <pc:sldChg chg="addSp delSp modSp add mod ord">
        <pc:chgData name="Meyer Raphael (PAR-ES)" userId="79615dfe-ed48-4e74-a40f-4f7b034c1c27" providerId="ADAL" clId="{09C02B11-E0D9-4F5C-A7AC-A38C35D7C045}" dt="2021-03-25T08:21:12.124" v="88" actId="478"/>
        <pc:sldMkLst>
          <pc:docMk/>
          <pc:sldMk cId="205331994" sldId="340"/>
        </pc:sldMkLst>
        <pc:spChg chg="mod">
          <ac:chgData name="Meyer Raphael (PAR-ES)" userId="79615dfe-ed48-4e74-a40f-4f7b034c1c27" providerId="ADAL" clId="{09C02B11-E0D9-4F5C-A7AC-A38C35D7C045}" dt="2021-03-25T08:20:20.906" v="80"/>
          <ac:spMkLst>
            <pc:docMk/>
            <pc:sldMk cId="205331994" sldId="340"/>
            <ac:spMk id="2" creationId="{A2DC317F-F1F4-4624-8FC1-3B68C1DBB3DA}"/>
          </ac:spMkLst>
        </pc:spChg>
        <pc:spChg chg="del">
          <ac:chgData name="Meyer Raphael (PAR-ES)" userId="79615dfe-ed48-4e74-a40f-4f7b034c1c27" providerId="ADAL" clId="{09C02B11-E0D9-4F5C-A7AC-A38C35D7C045}" dt="2021-03-25T08:20:00.473" v="78" actId="478"/>
          <ac:spMkLst>
            <pc:docMk/>
            <pc:sldMk cId="205331994" sldId="340"/>
            <ac:spMk id="7" creationId="{BA3F9A72-0541-4D1F-8CD8-1C2B8074FA1B}"/>
          </ac:spMkLst>
        </pc:spChg>
        <pc:spChg chg="mod">
          <ac:chgData name="Meyer Raphael (PAR-ES)" userId="79615dfe-ed48-4e74-a40f-4f7b034c1c27" providerId="ADAL" clId="{09C02B11-E0D9-4F5C-A7AC-A38C35D7C045}" dt="2021-03-25T08:20:39.760" v="83" actId="14100"/>
          <ac:spMkLst>
            <pc:docMk/>
            <pc:sldMk cId="205331994" sldId="340"/>
            <ac:spMk id="8" creationId="{5857C2A1-2CB8-4D4A-AEFD-E809BF73D04F}"/>
          </ac:spMkLst>
        </pc:spChg>
        <pc:spChg chg="del">
          <ac:chgData name="Meyer Raphael (PAR-ES)" userId="79615dfe-ed48-4e74-a40f-4f7b034c1c27" providerId="ADAL" clId="{09C02B11-E0D9-4F5C-A7AC-A38C35D7C045}" dt="2021-03-25T08:20:00.473" v="78" actId="478"/>
          <ac:spMkLst>
            <pc:docMk/>
            <pc:sldMk cId="205331994" sldId="340"/>
            <ac:spMk id="9" creationId="{B6990B61-32B2-4ADC-BF01-EDF7B4080F97}"/>
          </ac:spMkLst>
        </pc:spChg>
        <pc:spChg chg="mod">
          <ac:chgData name="Meyer Raphael (PAR-ES)" userId="79615dfe-ed48-4e74-a40f-4f7b034c1c27" providerId="ADAL" clId="{09C02B11-E0D9-4F5C-A7AC-A38C35D7C045}" dt="2021-03-25T08:20:29.282" v="81"/>
          <ac:spMkLst>
            <pc:docMk/>
            <pc:sldMk cId="205331994" sldId="340"/>
            <ac:spMk id="10" creationId="{077DFD58-E5EE-4B68-9325-D935DB04DD40}"/>
          </ac:spMkLst>
        </pc:spChg>
        <pc:spChg chg="del">
          <ac:chgData name="Meyer Raphael (PAR-ES)" userId="79615dfe-ed48-4e74-a40f-4f7b034c1c27" providerId="ADAL" clId="{09C02B11-E0D9-4F5C-A7AC-A38C35D7C045}" dt="2021-03-25T08:20:00.473" v="78" actId="478"/>
          <ac:spMkLst>
            <pc:docMk/>
            <pc:sldMk cId="205331994" sldId="340"/>
            <ac:spMk id="17" creationId="{785E740C-F94A-4208-8DFD-63A603C16577}"/>
          </ac:spMkLst>
        </pc:spChg>
        <pc:spChg chg="del">
          <ac:chgData name="Meyer Raphael (PAR-ES)" userId="79615dfe-ed48-4e74-a40f-4f7b034c1c27" providerId="ADAL" clId="{09C02B11-E0D9-4F5C-A7AC-A38C35D7C045}" dt="2021-03-25T08:21:12.124" v="88" actId="478"/>
          <ac:spMkLst>
            <pc:docMk/>
            <pc:sldMk cId="205331994" sldId="340"/>
            <ac:spMk id="22" creationId="{A4D052E9-A3D0-4D29-96C0-4125FCB1567B}"/>
          </ac:spMkLst>
        </pc:spChg>
        <pc:spChg chg="add mod">
          <ac:chgData name="Meyer Raphael (PAR-ES)" userId="79615dfe-ed48-4e74-a40f-4f7b034c1c27" providerId="ADAL" clId="{09C02B11-E0D9-4F5C-A7AC-A38C35D7C045}" dt="2021-03-25T08:20:10.413" v="79"/>
          <ac:spMkLst>
            <pc:docMk/>
            <pc:sldMk cId="205331994" sldId="340"/>
            <ac:spMk id="23" creationId="{59A67176-9DA6-430B-BB64-139CEB214D04}"/>
          </ac:spMkLst>
        </pc:spChg>
        <pc:spChg chg="del">
          <ac:chgData name="Meyer Raphael (PAR-ES)" userId="79615dfe-ed48-4e74-a40f-4f7b034c1c27" providerId="ADAL" clId="{09C02B11-E0D9-4F5C-A7AC-A38C35D7C045}" dt="2021-03-25T08:21:04.878" v="85" actId="478"/>
          <ac:spMkLst>
            <pc:docMk/>
            <pc:sldMk cId="205331994" sldId="340"/>
            <ac:spMk id="25" creationId="{9772D52D-035A-4D28-AE3A-4F5DD2C31620}"/>
          </ac:spMkLst>
        </pc:spChg>
        <pc:spChg chg="del">
          <ac:chgData name="Meyer Raphael (PAR-ES)" userId="79615dfe-ed48-4e74-a40f-4f7b034c1c27" providerId="ADAL" clId="{09C02B11-E0D9-4F5C-A7AC-A38C35D7C045}" dt="2021-03-25T08:20:00.473" v="78" actId="478"/>
          <ac:spMkLst>
            <pc:docMk/>
            <pc:sldMk cId="205331994" sldId="340"/>
            <ac:spMk id="26" creationId="{BFD498B5-D73E-4C8A-9FAF-B3547647538C}"/>
          </ac:spMkLst>
        </pc:spChg>
        <pc:spChg chg="mod">
          <ac:chgData name="Meyer Raphael (PAR-ES)" userId="79615dfe-ed48-4e74-a40f-4f7b034c1c27" providerId="ADAL" clId="{09C02B11-E0D9-4F5C-A7AC-A38C35D7C045}" dt="2021-03-25T08:20:48.672" v="84"/>
          <ac:spMkLst>
            <pc:docMk/>
            <pc:sldMk cId="205331994" sldId="340"/>
            <ac:spMk id="27" creationId="{46A6B042-39EE-4A58-BBAA-13D52264B660}"/>
          </ac:spMkLst>
        </pc:spChg>
        <pc:spChg chg="add mod">
          <ac:chgData name="Meyer Raphael (PAR-ES)" userId="79615dfe-ed48-4e74-a40f-4f7b034c1c27" providerId="ADAL" clId="{09C02B11-E0D9-4F5C-A7AC-A38C35D7C045}" dt="2021-03-25T08:20:10.413" v="79"/>
          <ac:spMkLst>
            <pc:docMk/>
            <pc:sldMk cId="205331994" sldId="340"/>
            <ac:spMk id="33" creationId="{A91A7DD2-F0E0-4917-8199-B69F319F5B11}"/>
          </ac:spMkLst>
        </pc:spChg>
        <pc:spChg chg="add mod">
          <ac:chgData name="Meyer Raphael (PAR-ES)" userId="79615dfe-ed48-4e74-a40f-4f7b034c1c27" providerId="ADAL" clId="{09C02B11-E0D9-4F5C-A7AC-A38C35D7C045}" dt="2021-03-25T08:20:10.413" v="79"/>
          <ac:spMkLst>
            <pc:docMk/>
            <pc:sldMk cId="205331994" sldId="340"/>
            <ac:spMk id="36" creationId="{843A69D3-E1DE-4DAF-944A-4E83B41DC05F}"/>
          </ac:spMkLst>
        </pc:spChg>
        <pc:spChg chg="add mod">
          <ac:chgData name="Meyer Raphael (PAR-ES)" userId="79615dfe-ed48-4e74-a40f-4f7b034c1c27" providerId="ADAL" clId="{09C02B11-E0D9-4F5C-A7AC-A38C35D7C045}" dt="2021-03-25T08:20:10.413" v="79"/>
          <ac:spMkLst>
            <pc:docMk/>
            <pc:sldMk cId="205331994" sldId="340"/>
            <ac:spMk id="37" creationId="{8C979AD3-8E6B-4004-8657-758C0B3D62CF}"/>
          </ac:spMkLst>
        </pc:spChg>
        <pc:graphicFrameChg chg="mod">
          <ac:chgData name="Meyer Raphael (PAR-ES)" userId="79615dfe-ed48-4e74-a40f-4f7b034c1c27" providerId="ADAL" clId="{09C02B11-E0D9-4F5C-A7AC-A38C35D7C045}" dt="2021-03-25T08:21:09.464" v="87" actId="1076"/>
          <ac:graphicFrameMkLst>
            <pc:docMk/>
            <pc:sldMk cId="205331994" sldId="340"/>
            <ac:graphicFrameMk id="5" creationId="{4CF6AB8B-CAB9-4C7E-8E59-E00357A4D7F0}"/>
          </ac:graphicFrameMkLst>
        </pc:graphicFrameChg>
      </pc:sldChg>
      <pc:sldChg chg="addSp delSp modSp add mod ord">
        <pc:chgData name="Meyer Raphael (PAR-ES)" userId="79615dfe-ed48-4e74-a40f-4f7b034c1c27" providerId="ADAL" clId="{09C02B11-E0D9-4F5C-A7AC-A38C35D7C045}" dt="2021-03-25T08:23:56.416" v="107" actId="478"/>
        <pc:sldMkLst>
          <pc:docMk/>
          <pc:sldMk cId="3020850231" sldId="341"/>
        </pc:sldMkLst>
        <pc:spChg chg="mod">
          <ac:chgData name="Meyer Raphael (PAR-ES)" userId="79615dfe-ed48-4e74-a40f-4f7b034c1c27" providerId="ADAL" clId="{09C02B11-E0D9-4F5C-A7AC-A38C35D7C045}" dt="2021-03-25T08:23:18.133" v="102"/>
          <ac:spMkLst>
            <pc:docMk/>
            <pc:sldMk cId="3020850231" sldId="341"/>
            <ac:spMk id="2" creationId="{A2DC317F-F1F4-4624-8FC1-3B68C1DBB3DA}"/>
          </ac:spMkLst>
        </pc:spChg>
        <pc:spChg chg="del">
          <ac:chgData name="Meyer Raphael (PAR-ES)" userId="79615dfe-ed48-4e74-a40f-4f7b034c1c27" providerId="ADAL" clId="{09C02B11-E0D9-4F5C-A7AC-A38C35D7C045}" dt="2021-03-25T08:22:07.481" v="94" actId="478"/>
          <ac:spMkLst>
            <pc:docMk/>
            <pc:sldMk cId="3020850231" sldId="341"/>
            <ac:spMk id="7" creationId="{BA3F9A72-0541-4D1F-8CD8-1C2B8074FA1B}"/>
          </ac:spMkLst>
        </pc:spChg>
        <pc:spChg chg="mod">
          <ac:chgData name="Meyer Raphael (PAR-ES)" userId="79615dfe-ed48-4e74-a40f-4f7b034c1c27" providerId="ADAL" clId="{09C02B11-E0D9-4F5C-A7AC-A38C35D7C045}" dt="2021-03-25T08:22:53.478" v="99" actId="14100"/>
          <ac:spMkLst>
            <pc:docMk/>
            <pc:sldMk cId="3020850231" sldId="341"/>
            <ac:spMk id="8" creationId="{5857C2A1-2CB8-4D4A-AEFD-E809BF73D04F}"/>
          </ac:spMkLst>
        </pc:spChg>
        <pc:spChg chg="del">
          <ac:chgData name="Meyer Raphael (PAR-ES)" userId="79615dfe-ed48-4e74-a40f-4f7b034c1c27" providerId="ADAL" clId="{09C02B11-E0D9-4F5C-A7AC-A38C35D7C045}" dt="2021-03-25T08:22:07.481" v="94" actId="478"/>
          <ac:spMkLst>
            <pc:docMk/>
            <pc:sldMk cId="3020850231" sldId="341"/>
            <ac:spMk id="9" creationId="{B6990B61-32B2-4ADC-BF01-EDF7B4080F97}"/>
          </ac:spMkLst>
        </pc:spChg>
        <pc:spChg chg="mod">
          <ac:chgData name="Meyer Raphael (PAR-ES)" userId="79615dfe-ed48-4e74-a40f-4f7b034c1c27" providerId="ADAL" clId="{09C02B11-E0D9-4F5C-A7AC-A38C35D7C045}" dt="2021-03-25T08:23:25.645" v="103"/>
          <ac:spMkLst>
            <pc:docMk/>
            <pc:sldMk cId="3020850231" sldId="341"/>
            <ac:spMk id="10" creationId="{077DFD58-E5EE-4B68-9325-D935DB04DD40}"/>
          </ac:spMkLst>
        </pc:spChg>
        <pc:spChg chg="del">
          <ac:chgData name="Meyer Raphael (PAR-ES)" userId="79615dfe-ed48-4e74-a40f-4f7b034c1c27" providerId="ADAL" clId="{09C02B11-E0D9-4F5C-A7AC-A38C35D7C045}" dt="2021-03-25T08:22:07.481" v="94" actId="478"/>
          <ac:spMkLst>
            <pc:docMk/>
            <pc:sldMk cId="3020850231" sldId="341"/>
            <ac:spMk id="17" creationId="{785E740C-F94A-4208-8DFD-63A603C16577}"/>
          </ac:spMkLst>
        </pc:spChg>
        <pc:spChg chg="add del">
          <ac:chgData name="Meyer Raphael (PAR-ES)" userId="79615dfe-ed48-4e74-a40f-4f7b034c1c27" providerId="ADAL" clId="{09C02B11-E0D9-4F5C-A7AC-A38C35D7C045}" dt="2021-03-25T08:23:55.215" v="106" actId="478"/>
          <ac:spMkLst>
            <pc:docMk/>
            <pc:sldMk cId="3020850231" sldId="341"/>
            <ac:spMk id="22" creationId="{A4D052E9-A3D0-4D29-96C0-4125FCB1567B}"/>
          </ac:spMkLst>
        </pc:spChg>
        <pc:spChg chg="add mod">
          <ac:chgData name="Meyer Raphael (PAR-ES)" userId="79615dfe-ed48-4e74-a40f-4f7b034c1c27" providerId="ADAL" clId="{09C02B11-E0D9-4F5C-A7AC-A38C35D7C045}" dt="2021-03-25T08:22:37.404" v="95"/>
          <ac:spMkLst>
            <pc:docMk/>
            <pc:sldMk cId="3020850231" sldId="341"/>
            <ac:spMk id="23" creationId="{372C58F4-D606-430A-AB2B-5690A120C6AE}"/>
          </ac:spMkLst>
        </pc:spChg>
        <pc:spChg chg="del">
          <ac:chgData name="Meyer Raphael (PAR-ES)" userId="79615dfe-ed48-4e74-a40f-4f7b034c1c27" providerId="ADAL" clId="{09C02B11-E0D9-4F5C-A7AC-A38C35D7C045}" dt="2021-03-25T08:23:56.416" v="107" actId="478"/>
          <ac:spMkLst>
            <pc:docMk/>
            <pc:sldMk cId="3020850231" sldId="341"/>
            <ac:spMk id="25" creationId="{9772D52D-035A-4D28-AE3A-4F5DD2C31620}"/>
          </ac:spMkLst>
        </pc:spChg>
        <pc:spChg chg="del">
          <ac:chgData name="Meyer Raphael (PAR-ES)" userId="79615dfe-ed48-4e74-a40f-4f7b034c1c27" providerId="ADAL" clId="{09C02B11-E0D9-4F5C-A7AC-A38C35D7C045}" dt="2021-03-25T08:22:07.481" v="94" actId="478"/>
          <ac:spMkLst>
            <pc:docMk/>
            <pc:sldMk cId="3020850231" sldId="341"/>
            <ac:spMk id="26" creationId="{BFD498B5-D73E-4C8A-9FAF-B3547647538C}"/>
          </ac:spMkLst>
        </pc:spChg>
        <pc:spChg chg="mod">
          <ac:chgData name="Meyer Raphael (PAR-ES)" userId="79615dfe-ed48-4e74-a40f-4f7b034c1c27" providerId="ADAL" clId="{09C02B11-E0D9-4F5C-A7AC-A38C35D7C045}" dt="2021-03-25T08:23:09.999" v="101" actId="14100"/>
          <ac:spMkLst>
            <pc:docMk/>
            <pc:sldMk cId="3020850231" sldId="341"/>
            <ac:spMk id="27" creationId="{46A6B042-39EE-4A58-BBAA-13D52264B660}"/>
          </ac:spMkLst>
        </pc:spChg>
        <pc:spChg chg="add mod">
          <ac:chgData name="Meyer Raphael (PAR-ES)" userId="79615dfe-ed48-4e74-a40f-4f7b034c1c27" providerId="ADAL" clId="{09C02B11-E0D9-4F5C-A7AC-A38C35D7C045}" dt="2021-03-25T08:22:37.404" v="95"/>
          <ac:spMkLst>
            <pc:docMk/>
            <pc:sldMk cId="3020850231" sldId="341"/>
            <ac:spMk id="33" creationId="{01D9B100-2B8B-40ED-8AC9-B55B4F6BB594}"/>
          </ac:spMkLst>
        </pc:spChg>
        <pc:spChg chg="add mod">
          <ac:chgData name="Meyer Raphael (PAR-ES)" userId="79615dfe-ed48-4e74-a40f-4f7b034c1c27" providerId="ADAL" clId="{09C02B11-E0D9-4F5C-A7AC-A38C35D7C045}" dt="2021-03-25T08:22:37.404" v="95"/>
          <ac:spMkLst>
            <pc:docMk/>
            <pc:sldMk cId="3020850231" sldId="341"/>
            <ac:spMk id="36" creationId="{3648375E-176D-41A3-8448-F5E94855D27D}"/>
          </ac:spMkLst>
        </pc:spChg>
        <pc:spChg chg="add mod">
          <ac:chgData name="Meyer Raphael (PAR-ES)" userId="79615dfe-ed48-4e74-a40f-4f7b034c1c27" providerId="ADAL" clId="{09C02B11-E0D9-4F5C-A7AC-A38C35D7C045}" dt="2021-03-25T08:22:37.404" v="95"/>
          <ac:spMkLst>
            <pc:docMk/>
            <pc:sldMk cId="3020850231" sldId="341"/>
            <ac:spMk id="37" creationId="{BAD0B686-0200-4A14-A3F8-A0B4DB338F4E}"/>
          </ac:spMkLst>
        </pc:spChg>
      </pc:sldChg>
    </pc:docChg>
  </pc:docChgLst>
  <pc:docChgLst>
    <pc:chgData name="Weigel Stefan (PAR-ES)" userId="fd3b2067-2981-4ad8-bf3a-d2e1004e4fa8" providerId="ADAL" clId="{C0405663-4E24-43A1-9C0F-378072DDAC97}"/>
    <pc:docChg chg="modSld">
      <pc:chgData name="Weigel Stefan (PAR-ES)" userId="fd3b2067-2981-4ad8-bf3a-d2e1004e4fa8" providerId="ADAL" clId="{C0405663-4E24-43A1-9C0F-378072DDAC97}" dt="2021-06-04T09:30:49.166" v="166" actId="1038"/>
      <pc:docMkLst>
        <pc:docMk/>
      </pc:docMkLst>
      <pc:sldChg chg="modSp mod">
        <pc:chgData name="Weigel Stefan (PAR-ES)" userId="fd3b2067-2981-4ad8-bf3a-d2e1004e4fa8" providerId="ADAL" clId="{C0405663-4E24-43A1-9C0F-378072DDAC97}" dt="2021-06-04T09:26:35.865" v="141" actId="27918"/>
        <pc:sldMkLst>
          <pc:docMk/>
          <pc:sldMk cId="1667945532" sldId="306"/>
        </pc:sldMkLst>
        <pc:spChg chg="mod">
          <ac:chgData name="Weigel Stefan (PAR-ES)" userId="fd3b2067-2981-4ad8-bf3a-d2e1004e4fa8" providerId="ADAL" clId="{C0405663-4E24-43A1-9C0F-378072DDAC97}" dt="2021-06-04T09:15:17.854" v="9" actId="20577"/>
          <ac:spMkLst>
            <pc:docMk/>
            <pc:sldMk cId="1667945532" sldId="306"/>
            <ac:spMk id="8" creationId="{5857C2A1-2CB8-4D4A-AEFD-E809BF73D04F}"/>
          </ac:spMkLst>
        </pc:spChg>
        <pc:spChg chg="mod">
          <ac:chgData name="Weigel Stefan (PAR-ES)" userId="fd3b2067-2981-4ad8-bf3a-d2e1004e4fa8" providerId="ADAL" clId="{C0405663-4E24-43A1-9C0F-378072DDAC97}" dt="2021-06-04T09:15:37.763" v="15" actId="20577"/>
          <ac:spMkLst>
            <pc:docMk/>
            <pc:sldMk cId="1667945532" sldId="306"/>
            <ac:spMk id="27" creationId="{46A6B042-39EE-4A58-BBAA-13D52264B660}"/>
          </ac:spMkLst>
        </pc:spChg>
        <pc:spChg chg="mod">
          <ac:chgData name="Weigel Stefan (PAR-ES)" userId="fd3b2067-2981-4ad8-bf3a-d2e1004e4fa8" providerId="ADAL" clId="{C0405663-4E24-43A1-9C0F-378072DDAC97}" dt="2021-06-04T09:19:54.598" v="62" actId="1038"/>
          <ac:spMkLst>
            <pc:docMk/>
            <pc:sldMk cId="1667945532" sldId="306"/>
            <ac:spMk id="28" creationId="{4492A3CD-6943-423D-BFEC-8129889E8B6F}"/>
          </ac:spMkLst>
        </pc:spChg>
        <pc:spChg chg="mod">
          <ac:chgData name="Weigel Stefan (PAR-ES)" userId="fd3b2067-2981-4ad8-bf3a-d2e1004e4fa8" providerId="ADAL" clId="{C0405663-4E24-43A1-9C0F-378072DDAC97}" dt="2021-06-04T09:15:47.449" v="21" actId="20577"/>
          <ac:spMkLst>
            <pc:docMk/>
            <pc:sldMk cId="1667945532" sldId="306"/>
            <ac:spMk id="31" creationId="{7491A47D-CAD4-478D-8F3A-296FFCB799F9}"/>
          </ac:spMkLst>
        </pc:spChg>
        <pc:spChg chg="mod">
          <ac:chgData name="Weigel Stefan (PAR-ES)" userId="fd3b2067-2981-4ad8-bf3a-d2e1004e4fa8" providerId="ADAL" clId="{C0405663-4E24-43A1-9C0F-378072DDAC97}" dt="2021-06-04T09:26:09.030" v="137" actId="1037"/>
          <ac:spMkLst>
            <pc:docMk/>
            <pc:sldMk cId="1667945532" sldId="306"/>
            <ac:spMk id="32" creationId="{E65DDA4F-7190-4D5B-B875-6818D18C9F6E}"/>
          </ac:spMkLst>
        </pc:spChg>
        <pc:cxnChg chg="mod">
          <ac:chgData name="Weigel Stefan (PAR-ES)" userId="fd3b2067-2981-4ad8-bf3a-d2e1004e4fa8" providerId="ADAL" clId="{C0405663-4E24-43A1-9C0F-378072DDAC97}" dt="2021-06-04T09:18:50.133" v="42" actId="1038"/>
          <ac:cxnSpMkLst>
            <pc:docMk/>
            <pc:sldMk cId="1667945532" sldId="306"/>
            <ac:cxnSpMk id="20" creationId="{07FCC63F-5E2F-43DF-84ED-5FFEC92A0042}"/>
          </ac:cxnSpMkLst>
        </pc:cxnChg>
      </pc:sldChg>
      <pc:sldChg chg="modSp mod">
        <pc:chgData name="Weigel Stefan (PAR-ES)" userId="fd3b2067-2981-4ad8-bf3a-d2e1004e4fa8" providerId="ADAL" clId="{C0405663-4E24-43A1-9C0F-378072DDAC97}" dt="2021-06-04T09:30:20.868" v="163" actId="1037"/>
        <pc:sldMkLst>
          <pc:docMk/>
          <pc:sldMk cId="1357620443" sldId="359"/>
        </pc:sldMkLst>
        <pc:spChg chg="mod">
          <ac:chgData name="Weigel Stefan (PAR-ES)" userId="fd3b2067-2981-4ad8-bf3a-d2e1004e4fa8" providerId="ADAL" clId="{C0405663-4E24-43A1-9C0F-378072DDAC97}" dt="2021-06-04T09:21:15.824" v="81" actId="20577"/>
          <ac:spMkLst>
            <pc:docMk/>
            <pc:sldMk cId="1357620443" sldId="359"/>
            <ac:spMk id="8" creationId="{5857C2A1-2CB8-4D4A-AEFD-E809BF73D04F}"/>
          </ac:spMkLst>
        </pc:spChg>
        <pc:spChg chg="mod">
          <ac:chgData name="Weigel Stefan (PAR-ES)" userId="fd3b2067-2981-4ad8-bf3a-d2e1004e4fa8" providerId="ADAL" clId="{C0405663-4E24-43A1-9C0F-378072DDAC97}" dt="2021-06-04T09:22:17.488" v="100" actId="20577"/>
          <ac:spMkLst>
            <pc:docMk/>
            <pc:sldMk cId="1357620443" sldId="359"/>
            <ac:spMk id="27" creationId="{46A6B042-39EE-4A58-BBAA-13D52264B660}"/>
          </ac:spMkLst>
        </pc:spChg>
        <pc:spChg chg="mod">
          <ac:chgData name="Weigel Stefan (PAR-ES)" userId="fd3b2067-2981-4ad8-bf3a-d2e1004e4fa8" providerId="ADAL" clId="{C0405663-4E24-43A1-9C0F-378072DDAC97}" dt="2021-06-04T09:20:58.968" v="79" actId="1038"/>
          <ac:spMkLst>
            <pc:docMk/>
            <pc:sldMk cId="1357620443" sldId="359"/>
            <ac:spMk id="28" creationId="{4492A3CD-6943-423D-BFEC-8129889E8B6F}"/>
          </ac:spMkLst>
        </pc:spChg>
        <pc:spChg chg="mod">
          <ac:chgData name="Weigel Stefan (PAR-ES)" userId="fd3b2067-2981-4ad8-bf3a-d2e1004e4fa8" providerId="ADAL" clId="{C0405663-4E24-43A1-9C0F-378072DDAC97}" dt="2021-06-04T09:21:40.109" v="95" actId="20577"/>
          <ac:spMkLst>
            <pc:docMk/>
            <pc:sldMk cId="1357620443" sldId="359"/>
            <ac:spMk id="31" creationId="{7491A47D-CAD4-478D-8F3A-296FFCB799F9}"/>
          </ac:spMkLst>
        </pc:spChg>
        <pc:spChg chg="mod">
          <ac:chgData name="Weigel Stefan (PAR-ES)" userId="fd3b2067-2981-4ad8-bf3a-d2e1004e4fa8" providerId="ADAL" clId="{C0405663-4E24-43A1-9C0F-378072DDAC97}" dt="2021-06-04T09:30:20.868" v="163" actId="1037"/>
          <ac:spMkLst>
            <pc:docMk/>
            <pc:sldMk cId="1357620443" sldId="359"/>
            <ac:spMk id="32" creationId="{E65DDA4F-7190-4D5B-B875-6818D18C9F6E}"/>
          </ac:spMkLst>
        </pc:spChg>
        <pc:cxnChg chg="mod">
          <ac:chgData name="Weigel Stefan (PAR-ES)" userId="fd3b2067-2981-4ad8-bf3a-d2e1004e4fa8" providerId="ADAL" clId="{C0405663-4E24-43A1-9C0F-378072DDAC97}" dt="2021-06-04T09:21:19.355" v="85" actId="1038"/>
          <ac:cxnSpMkLst>
            <pc:docMk/>
            <pc:sldMk cId="1357620443" sldId="359"/>
            <ac:cxnSpMk id="20" creationId="{07FCC63F-5E2F-43DF-84ED-5FFEC92A0042}"/>
          </ac:cxnSpMkLst>
        </pc:cxnChg>
      </pc:sldChg>
      <pc:sldChg chg="modSp mod">
        <pc:chgData name="Weigel Stefan (PAR-ES)" userId="fd3b2067-2981-4ad8-bf3a-d2e1004e4fa8" providerId="ADAL" clId="{C0405663-4E24-43A1-9C0F-378072DDAC97}" dt="2021-06-04T09:30:49.166" v="166" actId="1038"/>
        <pc:sldMkLst>
          <pc:docMk/>
          <pc:sldMk cId="2316055797" sldId="360"/>
        </pc:sldMkLst>
        <pc:spChg chg="mod">
          <ac:chgData name="Weigel Stefan (PAR-ES)" userId="fd3b2067-2981-4ad8-bf3a-d2e1004e4fa8" providerId="ADAL" clId="{C0405663-4E24-43A1-9C0F-378072DDAC97}" dt="2021-06-04T09:22:51.226" v="102" actId="20577"/>
          <ac:spMkLst>
            <pc:docMk/>
            <pc:sldMk cId="2316055797" sldId="360"/>
            <ac:spMk id="8" creationId="{5857C2A1-2CB8-4D4A-AEFD-E809BF73D04F}"/>
          </ac:spMkLst>
        </pc:spChg>
        <pc:spChg chg="mod">
          <ac:chgData name="Weigel Stefan (PAR-ES)" userId="fd3b2067-2981-4ad8-bf3a-d2e1004e4fa8" providerId="ADAL" clId="{C0405663-4E24-43A1-9C0F-378072DDAC97}" dt="2021-06-04T09:23:00.818" v="108" actId="20577"/>
          <ac:spMkLst>
            <pc:docMk/>
            <pc:sldMk cId="2316055797" sldId="360"/>
            <ac:spMk id="27" creationId="{46A6B042-39EE-4A58-BBAA-13D52264B660}"/>
          </ac:spMkLst>
        </pc:spChg>
        <pc:spChg chg="mod">
          <ac:chgData name="Weigel Stefan (PAR-ES)" userId="fd3b2067-2981-4ad8-bf3a-d2e1004e4fa8" providerId="ADAL" clId="{C0405663-4E24-43A1-9C0F-378072DDAC97}" dt="2021-06-04T09:23:16.087" v="122" actId="1038"/>
          <ac:spMkLst>
            <pc:docMk/>
            <pc:sldMk cId="2316055797" sldId="360"/>
            <ac:spMk id="28" creationId="{4492A3CD-6943-423D-BFEC-8129889E8B6F}"/>
          </ac:spMkLst>
        </pc:spChg>
        <pc:spChg chg="mod">
          <ac:chgData name="Weigel Stefan (PAR-ES)" userId="fd3b2067-2981-4ad8-bf3a-d2e1004e4fa8" providerId="ADAL" clId="{C0405663-4E24-43A1-9C0F-378072DDAC97}" dt="2021-06-04T09:29:53.297" v="161" actId="20577"/>
          <ac:spMkLst>
            <pc:docMk/>
            <pc:sldMk cId="2316055797" sldId="360"/>
            <ac:spMk id="31" creationId="{7491A47D-CAD4-478D-8F3A-296FFCB799F9}"/>
          </ac:spMkLst>
        </pc:spChg>
        <pc:spChg chg="mod">
          <ac:chgData name="Weigel Stefan (PAR-ES)" userId="fd3b2067-2981-4ad8-bf3a-d2e1004e4fa8" providerId="ADAL" clId="{C0405663-4E24-43A1-9C0F-378072DDAC97}" dt="2021-06-04T09:30:27.755" v="164" actId="1037"/>
          <ac:spMkLst>
            <pc:docMk/>
            <pc:sldMk cId="2316055797" sldId="360"/>
            <ac:spMk id="32" creationId="{E65DDA4F-7190-4D5B-B875-6818D18C9F6E}"/>
          </ac:spMkLst>
        </pc:spChg>
        <pc:cxnChg chg="mod">
          <ac:chgData name="Weigel Stefan (PAR-ES)" userId="fd3b2067-2981-4ad8-bf3a-d2e1004e4fa8" providerId="ADAL" clId="{C0405663-4E24-43A1-9C0F-378072DDAC97}" dt="2021-06-04T09:30:49.166" v="166" actId="1038"/>
          <ac:cxnSpMkLst>
            <pc:docMk/>
            <pc:sldMk cId="2316055797" sldId="360"/>
            <ac:cxnSpMk id="20" creationId="{07FCC63F-5E2F-43DF-84ED-5FFEC92A0042}"/>
          </ac:cxnSpMkLst>
        </pc:cxnChg>
      </pc:sldChg>
    </pc:docChg>
  </pc:docChgLst>
  <pc:docChgLst>
    <pc:chgData name="Meyer Raphael (PAR-ES)" userId="79615dfe-ed48-4e74-a40f-4f7b034c1c27" providerId="ADAL" clId="{4F219964-ECFF-451B-954E-AFA60EFA114B}"/>
    <pc:docChg chg="custSel addSld delSld modSld sldOrd">
      <pc:chgData name="Meyer Raphael (PAR-ES)" userId="79615dfe-ed48-4e74-a40f-4f7b034c1c27" providerId="ADAL" clId="{4F219964-ECFF-451B-954E-AFA60EFA114B}" dt="2021-05-17T07:13:17.952" v="117" actId="2696"/>
      <pc:docMkLst>
        <pc:docMk/>
      </pc:docMkLst>
      <pc:sldChg chg="modSp mod">
        <pc:chgData name="Meyer Raphael (PAR-ES)" userId="79615dfe-ed48-4e74-a40f-4f7b034c1c27" providerId="ADAL" clId="{4F219964-ECFF-451B-954E-AFA60EFA114B}" dt="2021-05-17T07:10:28.099" v="91" actId="1036"/>
        <pc:sldMkLst>
          <pc:docMk/>
          <pc:sldMk cId="1667945532" sldId="306"/>
        </pc:sldMkLst>
        <pc:spChg chg="mod">
          <ac:chgData name="Meyer Raphael (PAR-ES)" userId="79615dfe-ed48-4e74-a40f-4f7b034c1c27" providerId="ADAL" clId="{4F219964-ECFF-451B-954E-AFA60EFA114B}" dt="2021-05-17T07:04:46.125" v="1" actId="20577"/>
          <ac:spMkLst>
            <pc:docMk/>
            <pc:sldMk cId="1667945532" sldId="306"/>
            <ac:spMk id="8" creationId="{5857C2A1-2CB8-4D4A-AEFD-E809BF73D04F}"/>
          </ac:spMkLst>
        </pc:spChg>
        <pc:spChg chg="mod">
          <ac:chgData name="Meyer Raphael (PAR-ES)" userId="79615dfe-ed48-4e74-a40f-4f7b034c1c27" providerId="ADAL" clId="{4F219964-ECFF-451B-954E-AFA60EFA114B}" dt="2021-05-17T07:05:12.892" v="21" actId="20577"/>
          <ac:spMkLst>
            <pc:docMk/>
            <pc:sldMk cId="1667945532" sldId="306"/>
            <ac:spMk id="27" creationId="{46A6B042-39EE-4A58-BBAA-13D52264B660}"/>
          </ac:spMkLst>
        </pc:spChg>
        <pc:spChg chg="mod">
          <ac:chgData name="Meyer Raphael (PAR-ES)" userId="79615dfe-ed48-4e74-a40f-4f7b034c1c27" providerId="ADAL" clId="{4F219964-ECFF-451B-954E-AFA60EFA114B}" dt="2021-05-17T07:10:28.099" v="91" actId="1036"/>
          <ac:spMkLst>
            <pc:docMk/>
            <pc:sldMk cId="1667945532" sldId="306"/>
            <ac:spMk id="28" creationId="{4492A3CD-6943-423D-BFEC-8129889E8B6F}"/>
          </ac:spMkLst>
        </pc:spChg>
        <pc:spChg chg="mod">
          <ac:chgData name="Meyer Raphael (PAR-ES)" userId="79615dfe-ed48-4e74-a40f-4f7b034c1c27" providerId="ADAL" clId="{4F219964-ECFF-451B-954E-AFA60EFA114B}" dt="2021-05-17T07:05:28.578" v="29" actId="20577"/>
          <ac:spMkLst>
            <pc:docMk/>
            <pc:sldMk cId="1667945532" sldId="306"/>
            <ac:spMk id="31" creationId="{7491A47D-CAD4-478D-8F3A-296FFCB799F9}"/>
          </ac:spMkLst>
        </pc:spChg>
        <pc:spChg chg="mod">
          <ac:chgData name="Meyer Raphael (PAR-ES)" userId="79615dfe-ed48-4e74-a40f-4f7b034c1c27" providerId="ADAL" clId="{4F219964-ECFF-451B-954E-AFA60EFA114B}" dt="2021-05-17T07:07:12.088" v="60" actId="1035"/>
          <ac:spMkLst>
            <pc:docMk/>
            <pc:sldMk cId="1667945532" sldId="306"/>
            <ac:spMk id="32" creationId="{E65DDA4F-7190-4D5B-B875-6818D18C9F6E}"/>
          </ac:spMkLst>
        </pc:spChg>
      </pc:sldChg>
      <pc:sldChg chg="del">
        <pc:chgData name="Meyer Raphael (PAR-ES)" userId="79615dfe-ed48-4e74-a40f-4f7b034c1c27" providerId="ADAL" clId="{4F219964-ECFF-451B-954E-AFA60EFA114B}" dt="2021-05-17T07:11:49.919" v="105" actId="2696"/>
        <pc:sldMkLst>
          <pc:docMk/>
          <pc:sldMk cId="258869739" sldId="352"/>
        </pc:sldMkLst>
      </pc:sldChg>
      <pc:sldChg chg="del">
        <pc:chgData name="Meyer Raphael (PAR-ES)" userId="79615dfe-ed48-4e74-a40f-4f7b034c1c27" providerId="ADAL" clId="{4F219964-ECFF-451B-954E-AFA60EFA114B}" dt="2021-05-17T07:13:17.952" v="117" actId="2696"/>
        <pc:sldMkLst>
          <pc:docMk/>
          <pc:sldMk cId="1811537745" sldId="353"/>
        </pc:sldMkLst>
      </pc:sldChg>
      <pc:sldChg chg="addSp delSp modSp add mod ord">
        <pc:chgData name="Meyer Raphael (PAR-ES)" userId="79615dfe-ed48-4e74-a40f-4f7b034c1c27" providerId="ADAL" clId="{4F219964-ECFF-451B-954E-AFA60EFA114B}" dt="2021-05-17T07:11:37.879" v="104"/>
        <pc:sldMkLst>
          <pc:docMk/>
          <pc:sldMk cId="283003333" sldId="354"/>
        </pc:sldMkLst>
        <pc:spChg chg="mod">
          <ac:chgData name="Meyer Raphael (PAR-ES)" userId="79615dfe-ed48-4e74-a40f-4f7b034c1c27" providerId="ADAL" clId="{4F219964-ECFF-451B-954E-AFA60EFA114B}" dt="2021-05-17T07:11:05" v="100"/>
          <ac:spMkLst>
            <pc:docMk/>
            <pc:sldMk cId="283003333" sldId="354"/>
            <ac:spMk id="2" creationId="{A2DC317F-F1F4-4624-8FC1-3B68C1DBB3DA}"/>
          </ac:spMkLst>
        </pc:spChg>
        <pc:spChg chg="del">
          <ac:chgData name="Meyer Raphael (PAR-ES)" userId="79615dfe-ed48-4e74-a40f-4f7b034c1c27" providerId="ADAL" clId="{4F219964-ECFF-451B-954E-AFA60EFA114B}" dt="2021-05-17T07:10:47.340" v="98" actId="478"/>
          <ac:spMkLst>
            <pc:docMk/>
            <pc:sldMk cId="283003333" sldId="354"/>
            <ac:spMk id="7" creationId="{BA3F9A72-0541-4D1F-8CD8-1C2B8074FA1B}"/>
          </ac:spMkLst>
        </pc:spChg>
        <pc:spChg chg="mod">
          <ac:chgData name="Meyer Raphael (PAR-ES)" userId="79615dfe-ed48-4e74-a40f-4f7b034c1c27" providerId="ADAL" clId="{4F219964-ECFF-451B-954E-AFA60EFA114B}" dt="2021-05-17T07:11:26.031" v="103" actId="14100"/>
          <ac:spMkLst>
            <pc:docMk/>
            <pc:sldMk cId="283003333" sldId="354"/>
            <ac:spMk id="8" creationId="{5857C2A1-2CB8-4D4A-AEFD-E809BF73D04F}"/>
          </ac:spMkLst>
        </pc:spChg>
        <pc:spChg chg="del">
          <ac:chgData name="Meyer Raphael (PAR-ES)" userId="79615dfe-ed48-4e74-a40f-4f7b034c1c27" providerId="ADAL" clId="{4F219964-ECFF-451B-954E-AFA60EFA114B}" dt="2021-05-17T07:10:47.340" v="98" actId="478"/>
          <ac:spMkLst>
            <pc:docMk/>
            <pc:sldMk cId="283003333" sldId="354"/>
            <ac:spMk id="9" creationId="{B6990B61-32B2-4ADC-BF01-EDF7B4080F97}"/>
          </ac:spMkLst>
        </pc:spChg>
        <pc:spChg chg="mod">
          <ac:chgData name="Meyer Raphael (PAR-ES)" userId="79615dfe-ed48-4e74-a40f-4f7b034c1c27" providerId="ADAL" clId="{4F219964-ECFF-451B-954E-AFA60EFA114B}" dt="2021-05-17T07:11:14.081" v="101"/>
          <ac:spMkLst>
            <pc:docMk/>
            <pc:sldMk cId="283003333" sldId="354"/>
            <ac:spMk id="10" creationId="{077DFD58-E5EE-4B68-9325-D935DB04DD40}"/>
          </ac:spMkLst>
        </pc:spChg>
        <pc:spChg chg="del">
          <ac:chgData name="Meyer Raphael (PAR-ES)" userId="79615dfe-ed48-4e74-a40f-4f7b034c1c27" providerId="ADAL" clId="{4F219964-ECFF-451B-954E-AFA60EFA114B}" dt="2021-05-17T07:10:47.340" v="98" actId="478"/>
          <ac:spMkLst>
            <pc:docMk/>
            <pc:sldMk cId="283003333" sldId="354"/>
            <ac:spMk id="17" creationId="{785E740C-F94A-4208-8DFD-63A603C16577}"/>
          </ac:spMkLst>
        </pc:spChg>
        <pc:spChg chg="add mod">
          <ac:chgData name="Meyer Raphael (PAR-ES)" userId="79615dfe-ed48-4e74-a40f-4f7b034c1c27" providerId="ADAL" clId="{4F219964-ECFF-451B-954E-AFA60EFA114B}" dt="2021-05-17T07:10:56.934" v="99"/>
          <ac:spMkLst>
            <pc:docMk/>
            <pc:sldMk cId="283003333" sldId="354"/>
            <ac:spMk id="21" creationId="{2AACE76F-C9E5-48F3-9962-E024B0F75632}"/>
          </ac:spMkLst>
        </pc:spChg>
        <pc:spChg chg="add mod">
          <ac:chgData name="Meyer Raphael (PAR-ES)" userId="79615dfe-ed48-4e74-a40f-4f7b034c1c27" providerId="ADAL" clId="{4F219964-ECFF-451B-954E-AFA60EFA114B}" dt="2021-05-17T07:10:56.934" v="99"/>
          <ac:spMkLst>
            <pc:docMk/>
            <pc:sldMk cId="283003333" sldId="354"/>
            <ac:spMk id="22" creationId="{88F8814D-97E2-4914-B78F-08E6032DDCBC}"/>
          </ac:spMkLst>
        </pc:spChg>
        <pc:spChg chg="add mod">
          <ac:chgData name="Meyer Raphael (PAR-ES)" userId="79615dfe-ed48-4e74-a40f-4f7b034c1c27" providerId="ADAL" clId="{4F219964-ECFF-451B-954E-AFA60EFA114B}" dt="2021-05-17T07:10:56.934" v="99"/>
          <ac:spMkLst>
            <pc:docMk/>
            <pc:sldMk cId="283003333" sldId="354"/>
            <ac:spMk id="23" creationId="{0297700A-3B5A-4841-9CD9-E33F8AC148D1}"/>
          </ac:spMkLst>
        </pc:spChg>
        <pc:spChg chg="add mod">
          <ac:chgData name="Meyer Raphael (PAR-ES)" userId="79615dfe-ed48-4e74-a40f-4f7b034c1c27" providerId="ADAL" clId="{4F219964-ECFF-451B-954E-AFA60EFA114B}" dt="2021-05-17T07:10:56.934" v="99"/>
          <ac:spMkLst>
            <pc:docMk/>
            <pc:sldMk cId="283003333" sldId="354"/>
            <ac:spMk id="25" creationId="{AD0421BB-29D5-4E02-AB15-40FDE9E96718}"/>
          </ac:spMkLst>
        </pc:spChg>
        <pc:spChg chg="del">
          <ac:chgData name="Meyer Raphael (PAR-ES)" userId="79615dfe-ed48-4e74-a40f-4f7b034c1c27" providerId="ADAL" clId="{4F219964-ECFF-451B-954E-AFA60EFA114B}" dt="2021-05-17T07:10:47.340" v="98" actId="478"/>
          <ac:spMkLst>
            <pc:docMk/>
            <pc:sldMk cId="283003333" sldId="354"/>
            <ac:spMk id="26" creationId="{BFD498B5-D73E-4C8A-9FAF-B3547647538C}"/>
          </ac:spMkLst>
        </pc:spChg>
        <pc:spChg chg="mod">
          <ac:chgData name="Meyer Raphael (PAR-ES)" userId="79615dfe-ed48-4e74-a40f-4f7b034c1c27" providerId="ADAL" clId="{4F219964-ECFF-451B-954E-AFA60EFA114B}" dt="2021-05-17T07:11:37.879" v="104"/>
          <ac:spMkLst>
            <pc:docMk/>
            <pc:sldMk cId="283003333" sldId="354"/>
            <ac:spMk id="27" creationId="{46A6B042-39EE-4A58-BBAA-13D52264B660}"/>
          </ac:spMkLst>
        </pc:spChg>
      </pc:sldChg>
      <pc:sldChg chg="addSp delSp modSp add mod ord">
        <pc:chgData name="Meyer Raphael (PAR-ES)" userId="79615dfe-ed48-4e74-a40f-4f7b034c1c27" providerId="ADAL" clId="{4F219964-ECFF-451B-954E-AFA60EFA114B}" dt="2021-05-17T07:13:06.719" v="116" actId="14100"/>
        <pc:sldMkLst>
          <pc:docMk/>
          <pc:sldMk cId="2212603589" sldId="355"/>
        </pc:sldMkLst>
        <pc:spChg chg="mod">
          <ac:chgData name="Meyer Raphael (PAR-ES)" userId="79615dfe-ed48-4e74-a40f-4f7b034c1c27" providerId="ADAL" clId="{4F219964-ECFF-451B-954E-AFA60EFA114B}" dt="2021-05-17T07:12:32.380" v="110"/>
          <ac:spMkLst>
            <pc:docMk/>
            <pc:sldMk cId="2212603589" sldId="355"/>
            <ac:spMk id="2" creationId="{A2DC317F-F1F4-4624-8FC1-3B68C1DBB3DA}"/>
          </ac:spMkLst>
        </pc:spChg>
        <pc:spChg chg="del">
          <ac:chgData name="Meyer Raphael (PAR-ES)" userId="79615dfe-ed48-4e74-a40f-4f7b034c1c27" providerId="ADAL" clId="{4F219964-ECFF-451B-954E-AFA60EFA114B}" dt="2021-05-17T07:12:04.890" v="108" actId="478"/>
          <ac:spMkLst>
            <pc:docMk/>
            <pc:sldMk cId="2212603589" sldId="355"/>
            <ac:spMk id="7" creationId="{BA3F9A72-0541-4D1F-8CD8-1C2B8074FA1B}"/>
          </ac:spMkLst>
        </pc:spChg>
        <pc:spChg chg="mod">
          <ac:chgData name="Meyer Raphael (PAR-ES)" userId="79615dfe-ed48-4e74-a40f-4f7b034c1c27" providerId="ADAL" clId="{4F219964-ECFF-451B-954E-AFA60EFA114B}" dt="2021-05-17T07:12:50.893" v="113" actId="14100"/>
          <ac:spMkLst>
            <pc:docMk/>
            <pc:sldMk cId="2212603589" sldId="355"/>
            <ac:spMk id="8" creationId="{5857C2A1-2CB8-4D4A-AEFD-E809BF73D04F}"/>
          </ac:spMkLst>
        </pc:spChg>
        <pc:spChg chg="del">
          <ac:chgData name="Meyer Raphael (PAR-ES)" userId="79615dfe-ed48-4e74-a40f-4f7b034c1c27" providerId="ADAL" clId="{4F219964-ECFF-451B-954E-AFA60EFA114B}" dt="2021-05-17T07:12:04.890" v="108" actId="478"/>
          <ac:spMkLst>
            <pc:docMk/>
            <pc:sldMk cId="2212603589" sldId="355"/>
            <ac:spMk id="9" creationId="{B6990B61-32B2-4ADC-BF01-EDF7B4080F97}"/>
          </ac:spMkLst>
        </pc:spChg>
        <pc:spChg chg="mod">
          <ac:chgData name="Meyer Raphael (PAR-ES)" userId="79615dfe-ed48-4e74-a40f-4f7b034c1c27" providerId="ADAL" clId="{4F219964-ECFF-451B-954E-AFA60EFA114B}" dt="2021-05-17T07:12:40.246" v="111"/>
          <ac:spMkLst>
            <pc:docMk/>
            <pc:sldMk cId="2212603589" sldId="355"/>
            <ac:spMk id="10" creationId="{077DFD58-E5EE-4B68-9325-D935DB04DD40}"/>
          </ac:spMkLst>
        </pc:spChg>
        <pc:spChg chg="del">
          <ac:chgData name="Meyer Raphael (PAR-ES)" userId="79615dfe-ed48-4e74-a40f-4f7b034c1c27" providerId="ADAL" clId="{4F219964-ECFF-451B-954E-AFA60EFA114B}" dt="2021-05-17T07:12:01.165" v="107" actId="478"/>
          <ac:spMkLst>
            <pc:docMk/>
            <pc:sldMk cId="2212603589" sldId="355"/>
            <ac:spMk id="17" creationId="{785E740C-F94A-4208-8DFD-63A603C16577}"/>
          </ac:spMkLst>
        </pc:spChg>
        <pc:spChg chg="add mod">
          <ac:chgData name="Meyer Raphael (PAR-ES)" userId="79615dfe-ed48-4e74-a40f-4f7b034c1c27" providerId="ADAL" clId="{4F219964-ECFF-451B-954E-AFA60EFA114B}" dt="2021-05-17T07:12:15.824" v="109"/>
          <ac:spMkLst>
            <pc:docMk/>
            <pc:sldMk cId="2212603589" sldId="355"/>
            <ac:spMk id="21" creationId="{67B01A6C-2D47-49D0-A256-AB828CC1F562}"/>
          </ac:spMkLst>
        </pc:spChg>
        <pc:spChg chg="add mod">
          <ac:chgData name="Meyer Raphael (PAR-ES)" userId="79615dfe-ed48-4e74-a40f-4f7b034c1c27" providerId="ADAL" clId="{4F219964-ECFF-451B-954E-AFA60EFA114B}" dt="2021-05-17T07:12:15.824" v="109"/>
          <ac:spMkLst>
            <pc:docMk/>
            <pc:sldMk cId="2212603589" sldId="355"/>
            <ac:spMk id="22" creationId="{7A671292-99C0-49AC-B9D3-6127FD328852}"/>
          </ac:spMkLst>
        </pc:spChg>
        <pc:spChg chg="add mod">
          <ac:chgData name="Meyer Raphael (PAR-ES)" userId="79615dfe-ed48-4e74-a40f-4f7b034c1c27" providerId="ADAL" clId="{4F219964-ECFF-451B-954E-AFA60EFA114B}" dt="2021-05-17T07:12:15.824" v="109"/>
          <ac:spMkLst>
            <pc:docMk/>
            <pc:sldMk cId="2212603589" sldId="355"/>
            <ac:spMk id="23" creationId="{E1EDEBD4-4925-40A4-8B16-8E6B79D027D0}"/>
          </ac:spMkLst>
        </pc:spChg>
        <pc:spChg chg="add mod">
          <ac:chgData name="Meyer Raphael (PAR-ES)" userId="79615dfe-ed48-4e74-a40f-4f7b034c1c27" providerId="ADAL" clId="{4F219964-ECFF-451B-954E-AFA60EFA114B}" dt="2021-05-17T07:12:15.824" v="109"/>
          <ac:spMkLst>
            <pc:docMk/>
            <pc:sldMk cId="2212603589" sldId="355"/>
            <ac:spMk id="25" creationId="{1686F50F-A1F1-4312-A718-0B6D2D6DF005}"/>
          </ac:spMkLst>
        </pc:spChg>
        <pc:spChg chg="del mod">
          <ac:chgData name="Meyer Raphael (PAR-ES)" userId="79615dfe-ed48-4e74-a40f-4f7b034c1c27" providerId="ADAL" clId="{4F219964-ECFF-451B-954E-AFA60EFA114B}" dt="2021-05-17T07:12:01.165" v="107" actId="478"/>
          <ac:spMkLst>
            <pc:docMk/>
            <pc:sldMk cId="2212603589" sldId="355"/>
            <ac:spMk id="26" creationId="{BFD498B5-D73E-4C8A-9FAF-B3547647538C}"/>
          </ac:spMkLst>
        </pc:spChg>
        <pc:spChg chg="mod">
          <ac:chgData name="Meyer Raphael (PAR-ES)" userId="79615dfe-ed48-4e74-a40f-4f7b034c1c27" providerId="ADAL" clId="{4F219964-ECFF-451B-954E-AFA60EFA114B}" dt="2021-05-17T07:13:06.719" v="116" actId="14100"/>
          <ac:spMkLst>
            <pc:docMk/>
            <pc:sldMk cId="2212603589" sldId="355"/>
            <ac:spMk id="27" creationId="{46A6B042-39EE-4A58-BBAA-13D52264B660}"/>
          </ac:spMkLst>
        </pc:spChg>
      </pc:sldChg>
    </pc:docChg>
  </pc:docChgLst>
  <pc:docChgLst>
    <pc:chgData name="Meyer Raphael (PAR-ES)" userId="79615dfe-ed48-4e74-a40f-4f7b034c1c27" providerId="ADAL" clId="{EB920B20-9E76-44F1-B795-88FF7E10FD37}"/>
    <pc:docChg chg="modSld">
      <pc:chgData name="Meyer Raphael (PAR-ES)" userId="79615dfe-ed48-4e74-a40f-4f7b034c1c27" providerId="ADAL" clId="{EB920B20-9E76-44F1-B795-88FF7E10FD37}" dt="2021-09-10T07:18:03.290" v="121" actId="1076"/>
      <pc:docMkLst>
        <pc:docMk/>
      </pc:docMkLst>
      <pc:sldChg chg="modSp mod">
        <pc:chgData name="Meyer Raphael (PAR-ES)" userId="79615dfe-ed48-4e74-a40f-4f7b034c1c27" providerId="ADAL" clId="{EB920B20-9E76-44F1-B795-88FF7E10FD37}" dt="2021-09-10T07:17:56.959" v="120" actId="1076"/>
        <pc:sldMkLst>
          <pc:docMk/>
          <pc:sldMk cId="1495152177" sldId="298"/>
        </pc:sldMkLst>
        <pc:spChg chg="mod">
          <ac:chgData name="Meyer Raphael (PAR-ES)" userId="79615dfe-ed48-4e74-a40f-4f7b034c1c27" providerId="ADAL" clId="{EB920B20-9E76-44F1-B795-88FF7E10FD37}" dt="2021-09-10T07:17:56.959" v="120" actId="1076"/>
          <ac:spMkLst>
            <pc:docMk/>
            <pc:sldMk cId="1495152177" sldId="298"/>
            <ac:spMk id="7" creationId="{51421822-C303-4FC2-BF5E-F4377E568635}"/>
          </ac:spMkLst>
        </pc:spChg>
        <pc:spChg chg="mod">
          <ac:chgData name="Meyer Raphael (PAR-ES)" userId="79615dfe-ed48-4e74-a40f-4f7b034c1c27" providerId="ADAL" clId="{EB920B20-9E76-44F1-B795-88FF7E10FD37}" dt="2021-09-10T07:00:56.739" v="85" actId="1037"/>
          <ac:spMkLst>
            <pc:docMk/>
            <pc:sldMk cId="1495152177" sldId="298"/>
            <ac:spMk id="12" creationId="{970D2C07-63A2-4265-B006-56F685FE80A5}"/>
          </ac:spMkLst>
        </pc:spChg>
        <pc:spChg chg="mod">
          <ac:chgData name="Meyer Raphael (PAR-ES)" userId="79615dfe-ed48-4e74-a40f-4f7b034c1c27" providerId="ADAL" clId="{EB920B20-9E76-44F1-B795-88FF7E10FD37}" dt="2021-09-10T07:00:56.739" v="85" actId="1037"/>
          <ac:spMkLst>
            <pc:docMk/>
            <pc:sldMk cId="1495152177" sldId="298"/>
            <ac:spMk id="13" creationId="{93412675-62AA-41D8-997C-4E877ED953A8}"/>
          </ac:spMkLst>
        </pc:spChg>
        <pc:graphicFrameChg chg="modGraphic">
          <ac:chgData name="Meyer Raphael (PAR-ES)" userId="79615dfe-ed48-4e74-a40f-4f7b034c1c27" providerId="ADAL" clId="{EB920B20-9E76-44F1-B795-88FF7E10FD37}" dt="2021-09-10T06:48:23.411"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B920B20-9E76-44F1-B795-88FF7E10FD37}" dt="2021-09-10T07:00:56.739" v="85" actId="1037"/>
          <ac:cxnSpMkLst>
            <pc:docMk/>
            <pc:sldMk cId="1495152177" sldId="298"/>
            <ac:cxnSpMk id="8" creationId="{6F3EB9D3-E612-42D9-859B-1905BD876C26}"/>
          </ac:cxnSpMkLst>
        </pc:cxnChg>
      </pc:sldChg>
      <pc:sldChg chg="modSp mod">
        <pc:chgData name="Meyer Raphael (PAR-ES)" userId="79615dfe-ed48-4e74-a40f-4f7b034c1c27" providerId="ADAL" clId="{EB920B20-9E76-44F1-B795-88FF7E10FD37}" dt="2021-09-10T07:17:51.387" v="119" actId="1076"/>
        <pc:sldMkLst>
          <pc:docMk/>
          <pc:sldMk cId="3590012689" sldId="365"/>
        </pc:sldMkLst>
        <pc:spChg chg="mod">
          <ac:chgData name="Meyer Raphael (PAR-ES)" userId="79615dfe-ed48-4e74-a40f-4f7b034c1c27" providerId="ADAL" clId="{EB920B20-9E76-44F1-B795-88FF7E10FD37}" dt="2021-09-10T07:17:51.387" v="119" actId="1076"/>
          <ac:spMkLst>
            <pc:docMk/>
            <pc:sldMk cId="3590012689" sldId="365"/>
            <ac:spMk id="7" creationId="{51421822-C303-4FC2-BF5E-F4377E568635}"/>
          </ac:spMkLst>
        </pc:spChg>
        <pc:spChg chg="mod">
          <ac:chgData name="Meyer Raphael (PAR-ES)" userId="79615dfe-ed48-4e74-a40f-4f7b034c1c27" providerId="ADAL" clId="{EB920B20-9E76-44F1-B795-88FF7E10FD37}" dt="2021-09-10T07:01:18.658" v="103" actId="1038"/>
          <ac:spMkLst>
            <pc:docMk/>
            <pc:sldMk cId="3590012689" sldId="365"/>
            <ac:spMk id="12" creationId="{970D2C07-63A2-4265-B006-56F685FE80A5}"/>
          </ac:spMkLst>
        </pc:spChg>
        <pc:spChg chg="mod">
          <ac:chgData name="Meyer Raphael (PAR-ES)" userId="79615dfe-ed48-4e74-a40f-4f7b034c1c27" providerId="ADAL" clId="{EB920B20-9E76-44F1-B795-88FF7E10FD37}" dt="2021-09-10T07:01:18.658" v="103" actId="1038"/>
          <ac:spMkLst>
            <pc:docMk/>
            <pc:sldMk cId="3590012689" sldId="365"/>
            <ac:spMk id="13" creationId="{93412675-62AA-41D8-997C-4E877ED953A8}"/>
          </ac:spMkLst>
        </pc:spChg>
        <pc:graphicFrameChg chg="mod modGraphic">
          <ac:chgData name="Meyer Raphael (PAR-ES)" userId="79615dfe-ed48-4e74-a40f-4f7b034c1c27" providerId="ADAL" clId="{EB920B20-9E76-44F1-B795-88FF7E10FD37}" dt="2021-09-10T06:52:55.621" v="34"/>
          <ac:graphicFrameMkLst>
            <pc:docMk/>
            <pc:sldMk cId="3590012689" sldId="365"/>
            <ac:graphicFrameMk id="9" creationId="{E1369C63-C4A7-403B-A03F-B004599F910A}"/>
          </ac:graphicFrameMkLst>
        </pc:graphicFrameChg>
        <pc:cxnChg chg="mod">
          <ac:chgData name="Meyer Raphael (PAR-ES)" userId="79615dfe-ed48-4e74-a40f-4f7b034c1c27" providerId="ADAL" clId="{EB920B20-9E76-44F1-B795-88FF7E10FD37}" dt="2021-09-10T07:01:18.658" v="103" actId="1038"/>
          <ac:cxnSpMkLst>
            <pc:docMk/>
            <pc:sldMk cId="3590012689" sldId="365"/>
            <ac:cxnSpMk id="8" creationId="{6F3EB9D3-E612-42D9-859B-1905BD876C26}"/>
          </ac:cxnSpMkLst>
        </pc:cxnChg>
      </pc:sldChg>
      <pc:sldChg chg="modSp mod">
        <pc:chgData name="Meyer Raphael (PAR-ES)" userId="79615dfe-ed48-4e74-a40f-4f7b034c1c27" providerId="ADAL" clId="{EB920B20-9E76-44F1-B795-88FF7E10FD37}" dt="2021-09-10T07:18:03.290" v="121" actId="1076"/>
        <pc:sldMkLst>
          <pc:docMk/>
          <pc:sldMk cId="689864941" sldId="366"/>
        </pc:sldMkLst>
        <pc:spChg chg="mod">
          <ac:chgData name="Meyer Raphael (PAR-ES)" userId="79615dfe-ed48-4e74-a40f-4f7b034c1c27" providerId="ADAL" clId="{EB920B20-9E76-44F1-B795-88FF7E10FD37}" dt="2021-09-10T07:18:03.290" v="121" actId="1076"/>
          <ac:spMkLst>
            <pc:docMk/>
            <pc:sldMk cId="689864941" sldId="366"/>
            <ac:spMk id="7" creationId="{51421822-C303-4FC2-BF5E-F4377E568635}"/>
          </ac:spMkLst>
        </pc:spChg>
        <pc:spChg chg="mod">
          <ac:chgData name="Meyer Raphael (PAR-ES)" userId="79615dfe-ed48-4e74-a40f-4f7b034c1c27" providerId="ADAL" clId="{EB920B20-9E76-44F1-B795-88FF7E10FD37}" dt="2021-09-10T07:01:29.510" v="117" actId="1038"/>
          <ac:spMkLst>
            <pc:docMk/>
            <pc:sldMk cId="689864941" sldId="366"/>
            <ac:spMk id="12" creationId="{970D2C07-63A2-4265-B006-56F685FE80A5}"/>
          </ac:spMkLst>
        </pc:spChg>
        <pc:spChg chg="mod">
          <ac:chgData name="Meyer Raphael (PAR-ES)" userId="79615dfe-ed48-4e74-a40f-4f7b034c1c27" providerId="ADAL" clId="{EB920B20-9E76-44F1-B795-88FF7E10FD37}" dt="2021-09-10T07:01:29.510" v="117" actId="1038"/>
          <ac:spMkLst>
            <pc:docMk/>
            <pc:sldMk cId="689864941" sldId="366"/>
            <ac:spMk id="13" creationId="{93412675-62AA-41D8-997C-4E877ED953A8}"/>
          </ac:spMkLst>
        </pc:spChg>
        <pc:graphicFrameChg chg="mod modGraphic">
          <ac:chgData name="Meyer Raphael (PAR-ES)" userId="79615dfe-ed48-4e74-a40f-4f7b034c1c27" providerId="ADAL" clId="{EB920B20-9E76-44F1-B795-88FF7E10FD37}" dt="2021-09-10T06:53:00.873" v="35"/>
          <ac:graphicFrameMkLst>
            <pc:docMk/>
            <pc:sldMk cId="689864941" sldId="366"/>
            <ac:graphicFrameMk id="9" creationId="{E1369C63-C4A7-403B-A03F-B004599F910A}"/>
          </ac:graphicFrameMkLst>
        </pc:graphicFrameChg>
        <pc:cxnChg chg="mod">
          <ac:chgData name="Meyer Raphael (PAR-ES)" userId="79615dfe-ed48-4e74-a40f-4f7b034c1c27" providerId="ADAL" clId="{EB920B20-9E76-44F1-B795-88FF7E10FD37}" dt="2021-09-10T07:01:29.510" v="117" actId="1038"/>
          <ac:cxnSpMkLst>
            <pc:docMk/>
            <pc:sldMk cId="689864941" sldId="366"/>
            <ac:cxnSpMk id="8" creationId="{6F3EB9D3-E612-42D9-859B-1905BD876C26}"/>
          </ac:cxnSpMkLst>
        </pc:cxnChg>
      </pc:sldChg>
    </pc:docChg>
  </pc:docChgLst>
  <pc:docChgLst>
    <pc:chgData name="Meyer Raphael (PAR-ES)" userId="79615dfe-ed48-4e74-a40f-4f7b034c1c27" providerId="ADAL" clId="{46E68D57-EC4A-48B9-B328-0E92837B872C}"/>
    <pc:docChg chg="undo custSel addSld delSld modSld">
      <pc:chgData name="Meyer Raphael (PAR-ES)" userId="79615dfe-ed48-4e74-a40f-4f7b034c1c27" providerId="ADAL" clId="{46E68D57-EC4A-48B9-B328-0E92837B872C}" dt="2021-11-04T10:48:15.515" v="103"/>
      <pc:docMkLst>
        <pc:docMk/>
      </pc:docMkLst>
      <pc:sldChg chg="modSp mod">
        <pc:chgData name="Meyer Raphael (PAR-ES)" userId="79615dfe-ed48-4e74-a40f-4f7b034c1c27" providerId="ADAL" clId="{46E68D57-EC4A-48B9-B328-0E92837B872C}" dt="2021-11-04T10:42:08.817" v="89" actId="207"/>
        <pc:sldMkLst>
          <pc:docMk/>
          <pc:sldMk cId="3808035539" sldId="270"/>
        </pc:sldMkLst>
        <pc:spChg chg="mod">
          <ac:chgData name="Meyer Raphael (PAR-ES)" userId="79615dfe-ed48-4e74-a40f-4f7b034c1c27" providerId="ADAL" clId="{46E68D57-EC4A-48B9-B328-0E92837B872C}" dt="2021-11-04T10:42:08.817" v="89" actId="207"/>
          <ac:spMkLst>
            <pc:docMk/>
            <pc:sldMk cId="3808035539" sldId="270"/>
            <ac:spMk id="7" creationId="{CE60A944-7104-442D-B06A-85C8256131F7}"/>
          </ac:spMkLst>
        </pc:spChg>
        <pc:spChg chg="mod">
          <ac:chgData name="Meyer Raphael (PAR-ES)" userId="79615dfe-ed48-4e74-a40f-4f7b034c1c27" providerId="ADAL" clId="{46E68D57-EC4A-48B9-B328-0E92837B872C}" dt="2021-11-04T10:39:47.696" v="88" actId="1036"/>
          <ac:spMkLst>
            <pc:docMk/>
            <pc:sldMk cId="3808035539" sldId="270"/>
            <ac:spMk id="10" creationId="{41B9B9AB-4B12-4760-AF37-4FABDDFAE68B}"/>
          </ac:spMkLst>
        </pc:spChg>
      </pc:sldChg>
      <pc:sldChg chg="addSp delSp modSp mod">
        <pc:chgData name="Meyer Raphael (PAR-ES)" userId="79615dfe-ed48-4e74-a40f-4f7b034c1c27" providerId="ADAL" clId="{46E68D57-EC4A-48B9-B328-0E92837B872C}" dt="2021-11-04T10:38:37.436" v="79" actId="1038"/>
        <pc:sldMkLst>
          <pc:docMk/>
          <pc:sldMk cId="3677740869" sldId="271"/>
        </pc:sldMkLst>
        <pc:spChg chg="mod">
          <ac:chgData name="Meyer Raphael (PAR-ES)" userId="79615dfe-ed48-4e74-a40f-4f7b034c1c27" providerId="ADAL" clId="{46E68D57-EC4A-48B9-B328-0E92837B872C}" dt="2021-11-04T10:34:26.402" v="16" actId="20577"/>
          <ac:spMkLst>
            <pc:docMk/>
            <pc:sldMk cId="3677740869" sldId="271"/>
            <ac:spMk id="2" creationId="{00000000-0000-0000-0000-000000000000}"/>
          </ac:spMkLst>
        </pc:spChg>
        <pc:spChg chg="del">
          <ac:chgData name="Meyer Raphael (PAR-ES)" userId="79615dfe-ed48-4e74-a40f-4f7b034c1c27" providerId="ADAL" clId="{46E68D57-EC4A-48B9-B328-0E92837B872C}" dt="2021-11-04T10:33:28.590" v="10" actId="478"/>
          <ac:spMkLst>
            <pc:docMk/>
            <pc:sldMk cId="3677740869" sldId="271"/>
            <ac:spMk id="5" creationId="{00000000-0000-0000-0000-000000000000}"/>
          </ac:spMkLst>
        </pc:spChg>
        <pc:spChg chg="add mod">
          <ac:chgData name="Meyer Raphael (PAR-ES)" userId="79615dfe-ed48-4e74-a40f-4f7b034c1c27" providerId="ADAL" clId="{46E68D57-EC4A-48B9-B328-0E92837B872C}" dt="2021-11-04T10:38:37.436" v="79" actId="1038"/>
          <ac:spMkLst>
            <pc:docMk/>
            <pc:sldMk cId="3677740869" sldId="271"/>
            <ac:spMk id="6" creationId="{43DF758D-1D72-4940-A1AE-B914B7A641D5}"/>
          </ac:spMkLst>
        </pc:spChg>
        <pc:spChg chg="add mod">
          <ac:chgData name="Meyer Raphael (PAR-ES)" userId="79615dfe-ed48-4e74-a40f-4f7b034c1c27" providerId="ADAL" clId="{46E68D57-EC4A-48B9-B328-0E92837B872C}" dt="2021-11-04T10:34:33.002" v="19"/>
          <ac:spMkLst>
            <pc:docMk/>
            <pc:sldMk cId="3677740869" sldId="271"/>
            <ac:spMk id="7" creationId="{F89A807E-3A97-42E9-81E0-CE2025105F4C}"/>
          </ac:spMkLst>
        </pc:spChg>
      </pc:sldChg>
      <pc:sldChg chg="addSp delSp modSp mod">
        <pc:chgData name="Meyer Raphael (PAR-ES)" userId="79615dfe-ed48-4e74-a40f-4f7b034c1c27" providerId="ADAL" clId="{46E68D57-EC4A-48B9-B328-0E92837B872C}" dt="2021-11-04T10:44:31.407" v="96"/>
        <pc:sldMkLst>
          <pc:docMk/>
          <pc:sldMk cId="1963209825" sldId="272"/>
        </pc:sldMkLst>
        <pc:spChg chg="mod">
          <ac:chgData name="Meyer Raphael (PAR-ES)" userId="79615dfe-ed48-4e74-a40f-4f7b034c1c27" providerId="ADAL" clId="{46E68D57-EC4A-48B9-B328-0E92837B872C}" dt="2021-11-04T10:44:25.829" v="95" actId="21"/>
          <ac:spMkLst>
            <pc:docMk/>
            <pc:sldMk cId="1963209825" sldId="272"/>
            <ac:spMk id="2" creationId="{00000000-0000-0000-0000-000000000000}"/>
          </ac:spMkLst>
        </pc:spChg>
        <pc:spChg chg="del">
          <ac:chgData name="Meyer Raphael (PAR-ES)" userId="79615dfe-ed48-4e74-a40f-4f7b034c1c27" providerId="ADAL" clId="{46E68D57-EC4A-48B9-B328-0E92837B872C}" dt="2021-11-04T10:43:56.924" v="91" actId="478"/>
          <ac:spMkLst>
            <pc:docMk/>
            <pc:sldMk cId="1963209825" sldId="272"/>
            <ac:spMk id="5" creationId="{00000000-0000-0000-0000-000000000000}"/>
          </ac:spMkLst>
        </pc:spChg>
        <pc:spChg chg="add mod">
          <ac:chgData name="Meyer Raphael (PAR-ES)" userId="79615dfe-ed48-4e74-a40f-4f7b034c1c27" providerId="ADAL" clId="{46E68D57-EC4A-48B9-B328-0E92837B872C}" dt="2021-11-04T10:43:50.784" v="90"/>
          <ac:spMkLst>
            <pc:docMk/>
            <pc:sldMk cId="1963209825" sldId="272"/>
            <ac:spMk id="6" creationId="{CF6DBC6D-330A-4C20-9AEB-024C54AD5363}"/>
          </ac:spMkLst>
        </pc:spChg>
        <pc:spChg chg="add mod">
          <ac:chgData name="Meyer Raphael (PAR-ES)" userId="79615dfe-ed48-4e74-a40f-4f7b034c1c27" providerId="ADAL" clId="{46E68D57-EC4A-48B9-B328-0E92837B872C}" dt="2021-11-04T10:44:31.407" v="96"/>
          <ac:spMkLst>
            <pc:docMk/>
            <pc:sldMk cId="1963209825" sldId="272"/>
            <ac:spMk id="7" creationId="{78F08A34-A86E-4774-9EC1-635781A0CFBC}"/>
          </ac:spMkLst>
        </pc:spChg>
        <pc:graphicFrameChg chg="mod">
          <ac:chgData name="Meyer Raphael (PAR-ES)" userId="79615dfe-ed48-4e74-a40f-4f7b034c1c27" providerId="ADAL" clId="{46E68D57-EC4A-48B9-B328-0E92837B872C}" dt="2021-11-04T10:32:13.969" v="8" actId="207"/>
          <ac:graphicFrameMkLst>
            <pc:docMk/>
            <pc:sldMk cId="1963209825" sldId="272"/>
            <ac:graphicFrameMk id="9" creationId="{00000000-0000-0000-0000-000000000000}"/>
          </ac:graphicFrameMkLst>
        </pc:graphicFrameChg>
      </pc:sldChg>
      <pc:sldChg chg="addSp delSp modSp mod">
        <pc:chgData name="Meyer Raphael (PAR-ES)" userId="79615dfe-ed48-4e74-a40f-4f7b034c1c27" providerId="ADAL" clId="{46E68D57-EC4A-48B9-B328-0E92837B872C}" dt="2021-11-04T10:48:15.515" v="103"/>
        <pc:sldMkLst>
          <pc:docMk/>
          <pc:sldMk cId="1065586608" sldId="273"/>
        </pc:sldMkLst>
        <pc:spChg chg="mod">
          <ac:chgData name="Meyer Raphael (PAR-ES)" userId="79615dfe-ed48-4e74-a40f-4f7b034c1c27" providerId="ADAL" clId="{46E68D57-EC4A-48B9-B328-0E92837B872C}" dt="2021-11-04T10:48:10.691" v="102" actId="21"/>
          <ac:spMkLst>
            <pc:docMk/>
            <pc:sldMk cId="1065586608" sldId="273"/>
            <ac:spMk id="2" creationId="{00000000-0000-0000-0000-000000000000}"/>
          </ac:spMkLst>
        </pc:spChg>
        <pc:spChg chg="del">
          <ac:chgData name="Meyer Raphael (PAR-ES)" userId="79615dfe-ed48-4e74-a40f-4f7b034c1c27" providerId="ADAL" clId="{46E68D57-EC4A-48B9-B328-0E92837B872C}" dt="2021-11-04T10:47:42.874" v="98" actId="478"/>
          <ac:spMkLst>
            <pc:docMk/>
            <pc:sldMk cId="1065586608" sldId="273"/>
            <ac:spMk id="5" creationId="{00000000-0000-0000-0000-000000000000}"/>
          </ac:spMkLst>
        </pc:spChg>
        <pc:spChg chg="add mod">
          <ac:chgData name="Meyer Raphael (PAR-ES)" userId="79615dfe-ed48-4e74-a40f-4f7b034c1c27" providerId="ADAL" clId="{46E68D57-EC4A-48B9-B328-0E92837B872C}" dt="2021-11-04T10:47:38.596" v="97"/>
          <ac:spMkLst>
            <pc:docMk/>
            <pc:sldMk cId="1065586608" sldId="273"/>
            <ac:spMk id="6" creationId="{E0F162F0-F370-43B9-9CC4-2142C851FD99}"/>
          </ac:spMkLst>
        </pc:spChg>
        <pc:spChg chg="add mod">
          <ac:chgData name="Meyer Raphael (PAR-ES)" userId="79615dfe-ed48-4e74-a40f-4f7b034c1c27" providerId="ADAL" clId="{46E68D57-EC4A-48B9-B328-0E92837B872C}" dt="2021-11-04T10:48:15.515" v="103"/>
          <ac:spMkLst>
            <pc:docMk/>
            <pc:sldMk cId="1065586608" sldId="273"/>
            <ac:spMk id="7" creationId="{79CA5D86-E4EE-4B06-939E-8A7198BAD8B9}"/>
          </ac:spMkLst>
        </pc:spChg>
        <pc:graphicFrameChg chg="mod">
          <ac:chgData name="Meyer Raphael (PAR-ES)" userId="79615dfe-ed48-4e74-a40f-4f7b034c1c27" providerId="ADAL" clId="{46E68D57-EC4A-48B9-B328-0E92837B872C}" dt="2021-11-04T10:32:17.259" v="9" actId="207"/>
          <ac:graphicFrameMkLst>
            <pc:docMk/>
            <pc:sldMk cId="1065586608" sldId="273"/>
            <ac:graphicFrameMk id="9" creationId="{00000000-0000-0000-0000-000000000000}"/>
          </ac:graphicFrameMkLst>
        </pc:graphicFrameChg>
      </pc:sldChg>
      <pc:sldChg chg="addSp modSp add del mod">
        <pc:chgData name="Meyer Raphael (PAR-ES)" userId="79615dfe-ed48-4e74-a40f-4f7b034c1c27" providerId="ADAL" clId="{46E68D57-EC4A-48B9-B328-0E92837B872C}" dt="2021-11-04T10:27:45.248" v="7" actId="47"/>
        <pc:sldMkLst>
          <pc:docMk/>
          <pc:sldMk cId="1265215366" sldId="274"/>
        </pc:sldMkLst>
        <pc:spChg chg="add mod">
          <ac:chgData name="Meyer Raphael (PAR-ES)" userId="79615dfe-ed48-4e74-a40f-4f7b034c1c27" providerId="ADAL" clId="{46E68D57-EC4A-48B9-B328-0E92837B872C}" dt="2021-11-04T10:27:34.679" v="3"/>
          <ac:spMkLst>
            <pc:docMk/>
            <pc:sldMk cId="1265215366" sldId="274"/>
            <ac:spMk id="8" creationId="{A00CF08C-850D-4011-ACFC-DD6A026BC1CB}"/>
          </ac:spMkLst>
        </pc:spChg>
        <pc:spChg chg="mod">
          <ac:chgData name="Meyer Raphael (PAR-ES)" userId="79615dfe-ed48-4e74-a40f-4f7b034c1c27" providerId="ADAL" clId="{46E68D57-EC4A-48B9-B328-0E92837B872C}" dt="2021-11-04T10:14:41.931" v="2" actId="1076"/>
          <ac:spMkLst>
            <pc:docMk/>
            <pc:sldMk cId="1265215366" sldId="274"/>
            <ac:spMk id="10" creationId="{41B9B9AB-4B12-4760-AF37-4FABDDFAE68B}"/>
          </ac:spMkLst>
        </pc:spChg>
      </pc:sldChg>
    </pc:docChg>
  </pc:docChgLst>
  <pc:docChgLst>
    <pc:chgData name="Meyer Raphael (PAR-ES)" userId="79615dfe-ed48-4e74-a40f-4f7b034c1c27" providerId="ADAL" clId="{34058080-7696-4E4E-B4DE-D9FA9E966716}"/>
    <pc:docChg chg="undo custSel addSld delSld modSld sldOrd">
      <pc:chgData name="Meyer Raphael (PAR-ES)" userId="79615dfe-ed48-4e74-a40f-4f7b034c1c27" providerId="ADAL" clId="{34058080-7696-4E4E-B4DE-D9FA9E966716}" dt="2021-05-20T07:12:52.192" v="110" actId="1038"/>
      <pc:docMkLst>
        <pc:docMk/>
      </pc:docMkLst>
      <pc:sldChg chg="modSp mod">
        <pc:chgData name="Meyer Raphael (PAR-ES)" userId="79615dfe-ed48-4e74-a40f-4f7b034c1c27" providerId="ADAL" clId="{34058080-7696-4E4E-B4DE-D9FA9E966716}" dt="2021-05-20T07:12:47.022" v="109" actId="1038"/>
        <pc:sldMkLst>
          <pc:docMk/>
          <pc:sldMk cId="1667945532" sldId="306"/>
        </pc:sldMkLst>
        <pc:spChg chg="mod">
          <ac:chgData name="Meyer Raphael (PAR-ES)" userId="79615dfe-ed48-4e74-a40f-4f7b034c1c27" providerId="ADAL" clId="{34058080-7696-4E4E-B4DE-D9FA9E966716}" dt="2021-05-20T07:02:45.308" v="27" actId="20577"/>
          <ac:spMkLst>
            <pc:docMk/>
            <pc:sldMk cId="1667945532" sldId="306"/>
            <ac:spMk id="8" creationId="{5857C2A1-2CB8-4D4A-AEFD-E809BF73D04F}"/>
          </ac:spMkLst>
        </pc:spChg>
        <pc:spChg chg="mod">
          <ac:chgData name="Meyer Raphael (PAR-ES)" userId="79615dfe-ed48-4e74-a40f-4f7b034c1c27" providerId="ADAL" clId="{34058080-7696-4E4E-B4DE-D9FA9E966716}" dt="2021-05-20T07:07:39.642" v="68" actId="20577"/>
          <ac:spMkLst>
            <pc:docMk/>
            <pc:sldMk cId="1667945532" sldId="306"/>
            <ac:spMk id="27" creationId="{46A6B042-39EE-4A58-BBAA-13D52264B660}"/>
          </ac:spMkLst>
        </pc:spChg>
        <pc:spChg chg="mod">
          <ac:chgData name="Meyer Raphael (PAR-ES)" userId="79615dfe-ed48-4e74-a40f-4f7b034c1c27" providerId="ADAL" clId="{34058080-7696-4E4E-B4DE-D9FA9E966716}" dt="2021-05-20T07:05:47.304" v="50" actId="1076"/>
          <ac:spMkLst>
            <pc:docMk/>
            <pc:sldMk cId="1667945532" sldId="306"/>
            <ac:spMk id="28" creationId="{4492A3CD-6943-423D-BFEC-8129889E8B6F}"/>
          </ac:spMkLst>
        </pc:spChg>
        <pc:spChg chg="mod">
          <ac:chgData name="Meyer Raphael (PAR-ES)" userId="79615dfe-ed48-4e74-a40f-4f7b034c1c27" providerId="ADAL" clId="{34058080-7696-4E4E-B4DE-D9FA9E966716}" dt="2021-05-20T07:07:59.669" v="80" actId="20577"/>
          <ac:spMkLst>
            <pc:docMk/>
            <pc:sldMk cId="1667945532" sldId="306"/>
            <ac:spMk id="31" creationId="{7491A47D-CAD4-478D-8F3A-296FFCB799F9}"/>
          </ac:spMkLst>
        </pc:spChg>
        <pc:spChg chg="mod">
          <ac:chgData name="Meyer Raphael (PAR-ES)" userId="79615dfe-ed48-4e74-a40f-4f7b034c1c27" providerId="ADAL" clId="{34058080-7696-4E4E-B4DE-D9FA9E966716}" dt="2021-05-20T07:06:01.325" v="53" actId="1076"/>
          <ac:spMkLst>
            <pc:docMk/>
            <pc:sldMk cId="1667945532" sldId="306"/>
            <ac:spMk id="32" creationId="{E65DDA4F-7190-4D5B-B875-6818D18C9F6E}"/>
          </ac:spMkLst>
        </pc:spChg>
        <pc:cxnChg chg="mod">
          <ac:chgData name="Meyer Raphael (PAR-ES)" userId="79615dfe-ed48-4e74-a40f-4f7b034c1c27" providerId="ADAL" clId="{34058080-7696-4E4E-B4DE-D9FA9E966716}" dt="2021-05-20T07:12:47.022" v="109" actId="1038"/>
          <ac:cxnSpMkLst>
            <pc:docMk/>
            <pc:sldMk cId="1667945532" sldId="306"/>
            <ac:cxnSpMk id="20" creationId="{07FCC63F-5E2F-43DF-84ED-5FFEC92A0042}"/>
          </ac:cxnSpMkLst>
        </pc:cxnChg>
        <pc:cxnChg chg="mod">
          <ac:chgData name="Meyer Raphael (PAR-ES)" userId="79615dfe-ed48-4e74-a40f-4f7b034c1c27" providerId="ADAL" clId="{34058080-7696-4E4E-B4DE-D9FA9E966716}" dt="2021-05-20T07:06:27.823" v="62" actId="1038"/>
          <ac:cxnSpMkLst>
            <pc:docMk/>
            <pc:sldMk cId="1667945532" sldId="306"/>
            <ac:cxnSpMk id="29" creationId="{FD3E902F-283F-48FC-9504-FF2FF4EA4BF0}"/>
          </ac:cxnSpMkLst>
        </pc:cxnChg>
        <pc:cxnChg chg="mod">
          <ac:chgData name="Meyer Raphael (PAR-ES)" userId="79615dfe-ed48-4e74-a40f-4f7b034c1c27" providerId="ADAL" clId="{34058080-7696-4E4E-B4DE-D9FA9E966716}" dt="2021-05-20T07:06:20.784" v="60" actId="1038"/>
          <ac:cxnSpMkLst>
            <pc:docMk/>
            <pc:sldMk cId="1667945532" sldId="306"/>
            <ac:cxnSpMk id="30" creationId="{1D702FCA-793F-404B-84D5-F14C318BFFB3}"/>
          </ac:cxnSpMkLst>
        </pc:cxnChg>
      </pc:sldChg>
      <pc:sldChg chg="del">
        <pc:chgData name="Meyer Raphael (PAR-ES)" userId="79615dfe-ed48-4e74-a40f-4f7b034c1c27" providerId="ADAL" clId="{34058080-7696-4E4E-B4DE-D9FA9E966716}" dt="2021-05-20T07:09:59.910" v="92" actId="47"/>
        <pc:sldMkLst>
          <pc:docMk/>
          <pc:sldMk cId="283003333" sldId="354"/>
        </pc:sldMkLst>
      </pc:sldChg>
      <pc:sldChg chg="del">
        <pc:chgData name="Meyer Raphael (PAR-ES)" userId="79615dfe-ed48-4e74-a40f-4f7b034c1c27" providerId="ADAL" clId="{34058080-7696-4E4E-B4DE-D9FA9E966716}" dt="2021-05-20T07:12:19.163" v="103" actId="2696"/>
        <pc:sldMkLst>
          <pc:docMk/>
          <pc:sldMk cId="2212603589" sldId="355"/>
        </pc:sldMkLst>
      </pc:sldChg>
      <pc:sldChg chg="addSp delSp modSp add mod ord">
        <pc:chgData name="Meyer Raphael (PAR-ES)" userId="79615dfe-ed48-4e74-a40f-4f7b034c1c27" providerId="ADAL" clId="{34058080-7696-4E4E-B4DE-D9FA9E966716}" dt="2021-05-20T07:12:39.196" v="108" actId="1038"/>
        <pc:sldMkLst>
          <pc:docMk/>
          <pc:sldMk cId="1952189380" sldId="356"/>
        </pc:sldMkLst>
        <pc:spChg chg="mod">
          <ac:chgData name="Meyer Raphael (PAR-ES)" userId="79615dfe-ed48-4e74-a40f-4f7b034c1c27" providerId="ADAL" clId="{34058080-7696-4E4E-B4DE-D9FA9E966716}" dt="2021-05-20T07:08:47.411" v="89"/>
          <ac:spMkLst>
            <pc:docMk/>
            <pc:sldMk cId="1952189380" sldId="356"/>
            <ac:spMk id="2" creationId="{A2DC317F-F1F4-4624-8FC1-3B68C1DBB3DA}"/>
          </ac:spMkLst>
        </pc:spChg>
        <pc:spChg chg="del">
          <ac:chgData name="Meyer Raphael (PAR-ES)" userId="79615dfe-ed48-4e74-a40f-4f7b034c1c27" providerId="ADAL" clId="{34058080-7696-4E4E-B4DE-D9FA9E966716}" dt="2021-05-20T07:08:25.892" v="87" actId="478"/>
          <ac:spMkLst>
            <pc:docMk/>
            <pc:sldMk cId="1952189380" sldId="356"/>
            <ac:spMk id="7" creationId="{BA3F9A72-0541-4D1F-8CD8-1C2B8074FA1B}"/>
          </ac:spMkLst>
        </pc:spChg>
        <pc:spChg chg="mod">
          <ac:chgData name="Meyer Raphael (PAR-ES)" userId="79615dfe-ed48-4e74-a40f-4f7b034c1c27" providerId="ADAL" clId="{34058080-7696-4E4E-B4DE-D9FA9E966716}" dt="2021-05-20T07:12:33.188" v="107" actId="20577"/>
          <ac:spMkLst>
            <pc:docMk/>
            <pc:sldMk cId="1952189380" sldId="356"/>
            <ac:spMk id="8" creationId="{5857C2A1-2CB8-4D4A-AEFD-E809BF73D04F}"/>
          </ac:spMkLst>
        </pc:spChg>
        <pc:spChg chg="del">
          <ac:chgData name="Meyer Raphael (PAR-ES)" userId="79615dfe-ed48-4e74-a40f-4f7b034c1c27" providerId="ADAL" clId="{34058080-7696-4E4E-B4DE-D9FA9E966716}" dt="2021-05-20T07:08:25.892" v="87" actId="478"/>
          <ac:spMkLst>
            <pc:docMk/>
            <pc:sldMk cId="1952189380" sldId="356"/>
            <ac:spMk id="9" creationId="{B6990B61-32B2-4ADC-BF01-EDF7B4080F97}"/>
          </ac:spMkLst>
        </pc:spChg>
        <pc:spChg chg="mod">
          <ac:chgData name="Meyer Raphael (PAR-ES)" userId="79615dfe-ed48-4e74-a40f-4f7b034c1c27" providerId="ADAL" clId="{34058080-7696-4E4E-B4DE-D9FA9E966716}" dt="2021-05-20T07:09:02.388" v="90"/>
          <ac:spMkLst>
            <pc:docMk/>
            <pc:sldMk cId="1952189380" sldId="356"/>
            <ac:spMk id="10" creationId="{077DFD58-E5EE-4B68-9325-D935DB04DD40}"/>
          </ac:spMkLst>
        </pc:spChg>
        <pc:spChg chg="del">
          <ac:chgData name="Meyer Raphael (PAR-ES)" userId="79615dfe-ed48-4e74-a40f-4f7b034c1c27" providerId="ADAL" clId="{34058080-7696-4E4E-B4DE-D9FA9E966716}" dt="2021-05-20T07:08:25.892" v="87" actId="478"/>
          <ac:spMkLst>
            <pc:docMk/>
            <pc:sldMk cId="1952189380" sldId="356"/>
            <ac:spMk id="17" creationId="{785E740C-F94A-4208-8DFD-63A603C16577}"/>
          </ac:spMkLst>
        </pc:spChg>
        <pc:spChg chg="add mod">
          <ac:chgData name="Meyer Raphael (PAR-ES)" userId="79615dfe-ed48-4e74-a40f-4f7b034c1c27" providerId="ADAL" clId="{34058080-7696-4E4E-B4DE-D9FA9E966716}" dt="2021-05-20T07:08:36.355" v="88"/>
          <ac:spMkLst>
            <pc:docMk/>
            <pc:sldMk cId="1952189380" sldId="356"/>
            <ac:spMk id="21" creationId="{E68E7EE3-8B42-4FEE-8D53-08C4BE24C0EF}"/>
          </ac:spMkLst>
        </pc:spChg>
        <pc:spChg chg="add mod">
          <ac:chgData name="Meyer Raphael (PAR-ES)" userId="79615dfe-ed48-4e74-a40f-4f7b034c1c27" providerId="ADAL" clId="{34058080-7696-4E4E-B4DE-D9FA9E966716}" dt="2021-05-20T07:08:36.355" v="88"/>
          <ac:spMkLst>
            <pc:docMk/>
            <pc:sldMk cId="1952189380" sldId="356"/>
            <ac:spMk id="22" creationId="{B4E2CA27-B1E6-47FF-8EE3-0B3999F7C055}"/>
          </ac:spMkLst>
        </pc:spChg>
        <pc:spChg chg="add mod">
          <ac:chgData name="Meyer Raphael (PAR-ES)" userId="79615dfe-ed48-4e74-a40f-4f7b034c1c27" providerId="ADAL" clId="{34058080-7696-4E4E-B4DE-D9FA9E966716}" dt="2021-05-20T07:08:36.355" v="88"/>
          <ac:spMkLst>
            <pc:docMk/>
            <pc:sldMk cId="1952189380" sldId="356"/>
            <ac:spMk id="23" creationId="{0B9A5A25-A542-4536-B6A4-2B29273B2039}"/>
          </ac:spMkLst>
        </pc:spChg>
        <pc:spChg chg="add mod">
          <ac:chgData name="Meyer Raphael (PAR-ES)" userId="79615dfe-ed48-4e74-a40f-4f7b034c1c27" providerId="ADAL" clId="{34058080-7696-4E4E-B4DE-D9FA9E966716}" dt="2021-05-20T07:08:36.355" v="88"/>
          <ac:spMkLst>
            <pc:docMk/>
            <pc:sldMk cId="1952189380" sldId="356"/>
            <ac:spMk id="25" creationId="{2708F289-5AAF-42CB-BC70-6D30BF3A33B6}"/>
          </ac:spMkLst>
        </pc:spChg>
        <pc:spChg chg="del">
          <ac:chgData name="Meyer Raphael (PAR-ES)" userId="79615dfe-ed48-4e74-a40f-4f7b034c1c27" providerId="ADAL" clId="{34058080-7696-4E4E-B4DE-D9FA9E966716}" dt="2021-05-20T07:08:25.892" v="87" actId="478"/>
          <ac:spMkLst>
            <pc:docMk/>
            <pc:sldMk cId="1952189380" sldId="356"/>
            <ac:spMk id="26" creationId="{BFD498B5-D73E-4C8A-9FAF-B3547647538C}"/>
          </ac:spMkLst>
        </pc:spChg>
        <pc:spChg chg="mod">
          <ac:chgData name="Meyer Raphael (PAR-ES)" userId="79615dfe-ed48-4e74-a40f-4f7b034c1c27" providerId="ADAL" clId="{34058080-7696-4E4E-B4DE-D9FA9E966716}" dt="2021-05-20T07:09:18.269" v="91"/>
          <ac:spMkLst>
            <pc:docMk/>
            <pc:sldMk cId="1952189380" sldId="356"/>
            <ac:spMk id="27" creationId="{46A6B042-39EE-4A58-BBAA-13D52264B660}"/>
          </ac:spMkLst>
        </pc:spChg>
        <pc:cxnChg chg="mod">
          <ac:chgData name="Meyer Raphael (PAR-ES)" userId="79615dfe-ed48-4e74-a40f-4f7b034c1c27" providerId="ADAL" clId="{34058080-7696-4E4E-B4DE-D9FA9E966716}" dt="2021-05-20T07:12:39.196" v="108" actId="1038"/>
          <ac:cxnSpMkLst>
            <pc:docMk/>
            <pc:sldMk cId="1952189380" sldId="356"/>
            <ac:cxnSpMk id="20" creationId="{07FCC63F-5E2F-43DF-84ED-5FFEC92A0042}"/>
          </ac:cxnSpMkLst>
        </pc:cxnChg>
      </pc:sldChg>
      <pc:sldChg chg="addSp delSp modSp add mod ord">
        <pc:chgData name="Meyer Raphael (PAR-ES)" userId="79615dfe-ed48-4e74-a40f-4f7b034c1c27" providerId="ADAL" clId="{34058080-7696-4E4E-B4DE-D9FA9E966716}" dt="2021-05-20T07:12:52.192" v="110" actId="1038"/>
        <pc:sldMkLst>
          <pc:docMk/>
          <pc:sldMk cId="3480515475" sldId="357"/>
        </pc:sldMkLst>
        <pc:spChg chg="mod">
          <ac:chgData name="Meyer Raphael (PAR-ES)" userId="79615dfe-ed48-4e74-a40f-4f7b034c1c27" providerId="ADAL" clId="{34058080-7696-4E4E-B4DE-D9FA9E966716}" dt="2021-05-20T07:11:12.131" v="95"/>
          <ac:spMkLst>
            <pc:docMk/>
            <pc:sldMk cId="3480515475" sldId="357"/>
            <ac:spMk id="2" creationId="{A2DC317F-F1F4-4624-8FC1-3B68C1DBB3DA}"/>
          </ac:spMkLst>
        </pc:spChg>
        <pc:spChg chg="del">
          <ac:chgData name="Meyer Raphael (PAR-ES)" userId="79615dfe-ed48-4e74-a40f-4f7b034c1c27" providerId="ADAL" clId="{34058080-7696-4E4E-B4DE-D9FA9E966716}" dt="2021-05-20T07:10:54.720" v="93" actId="478"/>
          <ac:spMkLst>
            <pc:docMk/>
            <pc:sldMk cId="3480515475" sldId="357"/>
            <ac:spMk id="7" creationId="{BA3F9A72-0541-4D1F-8CD8-1C2B8074FA1B}"/>
          </ac:spMkLst>
        </pc:spChg>
        <pc:spChg chg="mod">
          <ac:chgData name="Meyer Raphael (PAR-ES)" userId="79615dfe-ed48-4e74-a40f-4f7b034c1c27" providerId="ADAL" clId="{34058080-7696-4E4E-B4DE-D9FA9E966716}" dt="2021-05-20T07:12:11.838" v="102" actId="14100"/>
          <ac:spMkLst>
            <pc:docMk/>
            <pc:sldMk cId="3480515475" sldId="357"/>
            <ac:spMk id="8" creationId="{5857C2A1-2CB8-4D4A-AEFD-E809BF73D04F}"/>
          </ac:spMkLst>
        </pc:spChg>
        <pc:spChg chg="del">
          <ac:chgData name="Meyer Raphael (PAR-ES)" userId="79615dfe-ed48-4e74-a40f-4f7b034c1c27" providerId="ADAL" clId="{34058080-7696-4E4E-B4DE-D9FA9E966716}" dt="2021-05-20T07:10:54.720" v="93" actId="478"/>
          <ac:spMkLst>
            <pc:docMk/>
            <pc:sldMk cId="3480515475" sldId="357"/>
            <ac:spMk id="9" creationId="{B6990B61-32B2-4ADC-BF01-EDF7B4080F97}"/>
          </ac:spMkLst>
        </pc:spChg>
        <pc:spChg chg="mod">
          <ac:chgData name="Meyer Raphael (PAR-ES)" userId="79615dfe-ed48-4e74-a40f-4f7b034c1c27" providerId="ADAL" clId="{34058080-7696-4E4E-B4DE-D9FA9E966716}" dt="2021-05-20T07:11:22.876" v="96"/>
          <ac:spMkLst>
            <pc:docMk/>
            <pc:sldMk cId="3480515475" sldId="357"/>
            <ac:spMk id="10" creationId="{077DFD58-E5EE-4B68-9325-D935DB04DD40}"/>
          </ac:spMkLst>
        </pc:spChg>
        <pc:spChg chg="del">
          <ac:chgData name="Meyer Raphael (PAR-ES)" userId="79615dfe-ed48-4e74-a40f-4f7b034c1c27" providerId="ADAL" clId="{34058080-7696-4E4E-B4DE-D9FA9E966716}" dt="2021-05-20T07:10:54.720" v="93" actId="478"/>
          <ac:spMkLst>
            <pc:docMk/>
            <pc:sldMk cId="3480515475" sldId="357"/>
            <ac:spMk id="17" creationId="{785E740C-F94A-4208-8DFD-63A603C16577}"/>
          </ac:spMkLst>
        </pc:spChg>
        <pc:spChg chg="add mod">
          <ac:chgData name="Meyer Raphael (PAR-ES)" userId="79615dfe-ed48-4e74-a40f-4f7b034c1c27" providerId="ADAL" clId="{34058080-7696-4E4E-B4DE-D9FA9E966716}" dt="2021-05-20T07:11:03.533" v="94"/>
          <ac:spMkLst>
            <pc:docMk/>
            <pc:sldMk cId="3480515475" sldId="357"/>
            <ac:spMk id="21" creationId="{F72EFDF1-FA83-4782-B1D5-7C4AFB360BA7}"/>
          </ac:spMkLst>
        </pc:spChg>
        <pc:spChg chg="add mod">
          <ac:chgData name="Meyer Raphael (PAR-ES)" userId="79615dfe-ed48-4e74-a40f-4f7b034c1c27" providerId="ADAL" clId="{34058080-7696-4E4E-B4DE-D9FA9E966716}" dt="2021-05-20T07:11:03.533" v="94"/>
          <ac:spMkLst>
            <pc:docMk/>
            <pc:sldMk cId="3480515475" sldId="357"/>
            <ac:spMk id="22" creationId="{58AF7E8E-0DAB-4E61-9D76-1EA9EBF82B58}"/>
          </ac:spMkLst>
        </pc:spChg>
        <pc:spChg chg="add mod">
          <ac:chgData name="Meyer Raphael (PAR-ES)" userId="79615dfe-ed48-4e74-a40f-4f7b034c1c27" providerId="ADAL" clId="{34058080-7696-4E4E-B4DE-D9FA9E966716}" dt="2021-05-20T07:11:03.533" v="94"/>
          <ac:spMkLst>
            <pc:docMk/>
            <pc:sldMk cId="3480515475" sldId="357"/>
            <ac:spMk id="23" creationId="{2E29F174-F265-4209-8FC7-984ABF017A9B}"/>
          </ac:spMkLst>
        </pc:spChg>
        <pc:spChg chg="add mod">
          <ac:chgData name="Meyer Raphael (PAR-ES)" userId="79615dfe-ed48-4e74-a40f-4f7b034c1c27" providerId="ADAL" clId="{34058080-7696-4E4E-B4DE-D9FA9E966716}" dt="2021-05-20T07:11:03.533" v="94"/>
          <ac:spMkLst>
            <pc:docMk/>
            <pc:sldMk cId="3480515475" sldId="357"/>
            <ac:spMk id="25" creationId="{15C255B4-85BA-4997-9FBE-A6058807AC3C}"/>
          </ac:spMkLst>
        </pc:spChg>
        <pc:spChg chg="del">
          <ac:chgData name="Meyer Raphael (PAR-ES)" userId="79615dfe-ed48-4e74-a40f-4f7b034c1c27" providerId="ADAL" clId="{34058080-7696-4E4E-B4DE-D9FA9E966716}" dt="2021-05-20T07:10:54.720" v="93" actId="478"/>
          <ac:spMkLst>
            <pc:docMk/>
            <pc:sldMk cId="3480515475" sldId="357"/>
            <ac:spMk id="26" creationId="{BFD498B5-D73E-4C8A-9FAF-B3547647538C}"/>
          </ac:spMkLst>
        </pc:spChg>
        <pc:spChg chg="mod">
          <ac:chgData name="Meyer Raphael (PAR-ES)" userId="79615dfe-ed48-4e74-a40f-4f7b034c1c27" providerId="ADAL" clId="{34058080-7696-4E4E-B4DE-D9FA9E966716}" dt="2021-05-20T07:11:59.631" v="100" actId="14100"/>
          <ac:spMkLst>
            <pc:docMk/>
            <pc:sldMk cId="3480515475" sldId="357"/>
            <ac:spMk id="27" creationId="{46A6B042-39EE-4A58-BBAA-13D52264B660}"/>
          </ac:spMkLst>
        </pc:spChg>
        <pc:cxnChg chg="mod">
          <ac:chgData name="Meyer Raphael (PAR-ES)" userId="79615dfe-ed48-4e74-a40f-4f7b034c1c27" providerId="ADAL" clId="{34058080-7696-4E4E-B4DE-D9FA9E966716}" dt="2021-05-20T07:12:52.192" v="110" actId="1038"/>
          <ac:cxnSpMkLst>
            <pc:docMk/>
            <pc:sldMk cId="3480515475" sldId="357"/>
            <ac:cxnSpMk id="20" creationId="{07FCC63F-5E2F-43DF-84ED-5FFEC92A0042}"/>
          </ac:cxnSpMkLst>
        </pc:cxnChg>
      </pc:sldChg>
    </pc:docChg>
  </pc:docChgLst>
  <pc:docChgLst>
    <pc:chgData name="Meyer Raphael (PAR-ES)" userId="79615dfe-ed48-4e74-a40f-4f7b034c1c27" providerId="ADAL" clId="{67DA8137-F178-4B17-B343-2CF1ED580B15}"/>
    <pc:docChg chg="delSld">
      <pc:chgData name="Meyer Raphael (PAR-ES)" userId="79615dfe-ed48-4e74-a40f-4f7b034c1c27" providerId="ADAL" clId="{67DA8137-F178-4B17-B343-2CF1ED580B15}" dt="2022-03-09T16:38:09.718" v="1" actId="47"/>
      <pc:docMkLst>
        <pc:docMk/>
      </pc:docMkLst>
      <pc:sldChg chg="del">
        <pc:chgData name="Meyer Raphael (PAR-ES)" userId="79615dfe-ed48-4e74-a40f-4f7b034c1c27" providerId="ADAL" clId="{67DA8137-F178-4B17-B343-2CF1ED580B15}" dt="2022-03-09T16:38:06.581" v="0" actId="47"/>
        <pc:sldMkLst>
          <pc:docMk/>
          <pc:sldMk cId="3865012081" sldId="415"/>
        </pc:sldMkLst>
      </pc:sldChg>
      <pc:sldChg chg="del">
        <pc:chgData name="Meyer Raphael (PAR-ES)" userId="79615dfe-ed48-4e74-a40f-4f7b034c1c27" providerId="ADAL" clId="{67DA8137-F178-4B17-B343-2CF1ED580B15}" dt="2022-03-09T16:38:06.581" v="0" actId="47"/>
        <pc:sldMkLst>
          <pc:docMk/>
          <pc:sldMk cId="2868978950" sldId="416"/>
        </pc:sldMkLst>
      </pc:sldChg>
      <pc:sldChg chg="del">
        <pc:chgData name="Meyer Raphael (PAR-ES)" userId="79615dfe-ed48-4e74-a40f-4f7b034c1c27" providerId="ADAL" clId="{67DA8137-F178-4B17-B343-2CF1ED580B15}" dt="2022-03-09T16:38:09.718" v="1" actId="47"/>
        <pc:sldMkLst>
          <pc:docMk/>
          <pc:sldMk cId="407174717" sldId="418"/>
        </pc:sldMkLst>
      </pc:sldChg>
    </pc:docChg>
  </pc:docChgLst>
  <pc:docChgLst>
    <pc:chgData name="Meyer Raphael (PAR-ES)" userId="79615dfe-ed48-4e74-a40f-4f7b034c1c27" providerId="ADAL" clId="{9A7A89A4-F952-48D4-B14D-BB0B488F8908}"/>
    <pc:docChg chg="addSld modSld sldOrd">
      <pc:chgData name="Meyer Raphael (PAR-ES)" userId="79615dfe-ed48-4e74-a40f-4f7b034c1c27" providerId="ADAL" clId="{9A7A89A4-F952-48D4-B14D-BB0B488F8908}" dt="2021-02-02T13:52:51.990" v="64" actId="1076"/>
      <pc:docMkLst>
        <pc:docMk/>
      </pc:docMkLst>
      <pc:sldChg chg="modSp add mod ord">
        <pc:chgData name="Meyer Raphael (PAR-ES)" userId="79615dfe-ed48-4e74-a40f-4f7b034c1c27" providerId="ADAL" clId="{9A7A89A4-F952-48D4-B14D-BB0B488F8908}" dt="2021-02-02T13:52:51.990" v="64" actId="1076"/>
        <pc:sldMkLst>
          <pc:docMk/>
          <pc:sldMk cId="277025245" sldId="325"/>
        </pc:sldMkLst>
        <pc:spChg chg="mod">
          <ac:chgData name="Meyer Raphael (PAR-ES)" userId="79615dfe-ed48-4e74-a40f-4f7b034c1c27" providerId="ADAL" clId="{9A7A89A4-F952-48D4-B14D-BB0B488F8908}" dt="2021-02-02T13:43:36.763" v="57" actId="20577"/>
          <ac:spMkLst>
            <pc:docMk/>
            <pc:sldMk cId="277025245" sldId="325"/>
            <ac:spMk id="2" creationId="{A2DC317F-F1F4-4624-8FC1-3B68C1DBB3DA}"/>
          </ac:spMkLst>
        </pc:spChg>
        <pc:spChg chg="mod">
          <ac:chgData name="Meyer Raphael (PAR-ES)" userId="79615dfe-ed48-4e74-a40f-4f7b034c1c27" providerId="ADAL" clId="{9A7A89A4-F952-48D4-B14D-BB0B488F8908}" dt="2021-02-02T13:42:00.468" v="19" actId="1076"/>
          <ac:spMkLst>
            <pc:docMk/>
            <pc:sldMk cId="277025245" sldId="325"/>
            <ac:spMk id="6" creationId="{0EEE4EA3-E16E-424B-97F9-53A8F5D585AE}"/>
          </ac:spMkLst>
        </pc:spChg>
        <pc:spChg chg="mod">
          <ac:chgData name="Meyer Raphael (PAR-ES)" userId="79615dfe-ed48-4e74-a40f-4f7b034c1c27" providerId="ADAL" clId="{9A7A89A4-F952-48D4-B14D-BB0B488F8908}" dt="2021-02-02T13:52:51.990" v="64" actId="1076"/>
          <ac:spMkLst>
            <pc:docMk/>
            <pc:sldMk cId="277025245" sldId="325"/>
            <ac:spMk id="15" creationId="{CC1F0CCA-7B55-41F9-A1FF-769ED7C753BD}"/>
          </ac:spMkLst>
        </pc:spChg>
        <pc:graphicFrameChg chg="mod">
          <ac:chgData name="Meyer Raphael (PAR-ES)" userId="79615dfe-ed48-4e74-a40f-4f7b034c1c27" providerId="ADAL" clId="{9A7A89A4-F952-48D4-B14D-BB0B488F8908}" dt="2021-02-02T13:46:24.028" v="63"/>
          <ac:graphicFrameMkLst>
            <pc:docMk/>
            <pc:sldMk cId="277025245" sldId="325"/>
            <ac:graphicFrameMk id="5" creationId="{4CF6AB8B-CAB9-4C7E-8E59-E00357A4D7F0}"/>
          </ac:graphicFrameMkLst>
        </pc:graphicFrameChg>
      </pc:sldChg>
    </pc:docChg>
  </pc:docChgLst>
  <pc:docChgLst>
    <pc:chgData name="Meyer Raphael (PAR-ES)" userId="79615dfe-ed48-4e74-a40f-4f7b034c1c27" providerId="ADAL" clId="{78FD9AF3-DD98-49F5-BF8B-FC56F13A595F}"/>
    <pc:docChg chg="custSel addSld delSld modSld">
      <pc:chgData name="Meyer Raphael (PAR-ES)" userId="79615dfe-ed48-4e74-a40f-4f7b034c1c27" providerId="ADAL" clId="{78FD9AF3-DD98-49F5-BF8B-FC56F13A595F}" dt="2022-03-09T13:58:52.464" v="97" actId="27918"/>
      <pc:docMkLst>
        <pc:docMk/>
      </pc:docMkLst>
      <pc:sldChg chg="del">
        <pc:chgData name="Meyer Raphael (PAR-ES)" userId="79615dfe-ed48-4e74-a40f-4f7b034c1c27" providerId="ADAL" clId="{78FD9AF3-DD98-49F5-BF8B-FC56F13A595F}" dt="2022-03-09T13:45:01.459" v="0" actId="47"/>
        <pc:sldMkLst>
          <pc:docMk/>
          <pc:sldMk cId="2641487227" sldId="271"/>
        </pc:sldMkLst>
      </pc:sldChg>
      <pc:sldChg chg="mod">
        <pc:chgData name="Meyer Raphael (PAR-ES)" userId="79615dfe-ed48-4e74-a40f-4f7b034c1c27" providerId="ADAL" clId="{78FD9AF3-DD98-49F5-BF8B-FC56F13A595F}" dt="2022-03-09T13:50:26.671" v="22" actId="27918"/>
        <pc:sldMkLst>
          <pc:docMk/>
          <pc:sldMk cId="3064315074" sldId="413"/>
        </pc:sldMkLst>
      </pc:sldChg>
      <pc:sldChg chg="modSp add mod">
        <pc:chgData name="Meyer Raphael (PAR-ES)" userId="79615dfe-ed48-4e74-a40f-4f7b034c1c27" providerId="ADAL" clId="{78FD9AF3-DD98-49F5-BF8B-FC56F13A595F}" dt="2022-03-09T13:52:40.046" v="43"/>
        <pc:sldMkLst>
          <pc:docMk/>
          <pc:sldMk cId="1214120989" sldId="414"/>
        </pc:sldMkLst>
        <pc:spChg chg="mod">
          <ac:chgData name="Meyer Raphael (PAR-ES)" userId="79615dfe-ed48-4e74-a40f-4f7b034c1c27" providerId="ADAL" clId="{78FD9AF3-DD98-49F5-BF8B-FC56F13A595F}" dt="2022-03-09T13:51:13.864" v="30" actId="20577"/>
          <ac:spMkLst>
            <pc:docMk/>
            <pc:sldMk cId="1214120989" sldId="414"/>
            <ac:spMk id="2" creationId="{00000000-0000-0000-0000-000000000000}"/>
          </ac:spMkLst>
        </pc:spChg>
        <pc:spChg chg="mod">
          <ac:chgData name="Meyer Raphael (PAR-ES)" userId="79615dfe-ed48-4e74-a40f-4f7b034c1c27" providerId="ADAL" clId="{78FD9AF3-DD98-49F5-BF8B-FC56F13A595F}" dt="2022-03-09T13:51:37.128" v="37" actId="20577"/>
          <ac:spMkLst>
            <pc:docMk/>
            <pc:sldMk cId="1214120989" sldId="414"/>
            <ac:spMk id="11" creationId="{51A102DA-4F4E-474F-9E16-1E7F70764A16}"/>
          </ac:spMkLst>
        </pc:spChg>
        <pc:spChg chg="mod">
          <ac:chgData name="Meyer Raphael (PAR-ES)" userId="79615dfe-ed48-4e74-a40f-4f7b034c1c27" providerId="ADAL" clId="{78FD9AF3-DD98-49F5-BF8B-FC56F13A595F}" dt="2022-03-09T13:52:40.046" v="43"/>
          <ac:spMkLst>
            <pc:docMk/>
            <pc:sldMk cId="1214120989" sldId="414"/>
            <ac:spMk id="12" creationId="{00D4BB6A-0DD0-4B80-9845-0467B947A6BE}"/>
          </ac:spMkLst>
        </pc:spChg>
      </pc:sldChg>
      <pc:sldChg chg="modSp add del mod">
        <pc:chgData name="Meyer Raphael (PAR-ES)" userId="79615dfe-ed48-4e74-a40f-4f7b034c1c27" providerId="ADAL" clId="{78FD9AF3-DD98-49F5-BF8B-FC56F13A595F}" dt="2022-03-09T13:49:09.503" v="19" actId="47"/>
        <pc:sldMkLst>
          <pc:docMk/>
          <pc:sldMk cId="1298817908" sldId="414"/>
        </pc:sldMkLst>
        <pc:spChg chg="mod">
          <ac:chgData name="Meyer Raphael (PAR-ES)" userId="79615dfe-ed48-4e74-a40f-4f7b034c1c27" providerId="ADAL" clId="{78FD9AF3-DD98-49F5-BF8B-FC56F13A595F}" dt="2022-03-09T13:46:41.249" v="4"/>
          <ac:spMkLst>
            <pc:docMk/>
            <pc:sldMk cId="1298817908" sldId="414"/>
            <ac:spMk id="2" creationId="{00000000-0000-0000-0000-000000000000}"/>
          </ac:spMkLst>
        </pc:spChg>
        <pc:spChg chg="mod">
          <ac:chgData name="Meyer Raphael (PAR-ES)" userId="79615dfe-ed48-4e74-a40f-4f7b034c1c27" providerId="ADAL" clId="{78FD9AF3-DD98-49F5-BF8B-FC56F13A595F}" dt="2022-03-09T13:47:10.506" v="12" actId="20577"/>
          <ac:spMkLst>
            <pc:docMk/>
            <pc:sldMk cId="1298817908" sldId="414"/>
            <ac:spMk id="11" creationId="{51A102DA-4F4E-474F-9E16-1E7F70764A16}"/>
          </ac:spMkLst>
        </pc:spChg>
        <pc:spChg chg="mod">
          <ac:chgData name="Meyer Raphael (PAR-ES)" userId="79615dfe-ed48-4e74-a40f-4f7b034c1c27" providerId="ADAL" clId="{78FD9AF3-DD98-49F5-BF8B-FC56F13A595F}" dt="2022-03-09T13:46:51.898" v="5"/>
          <ac:spMkLst>
            <pc:docMk/>
            <pc:sldMk cId="1298817908" sldId="414"/>
            <ac:spMk id="12" creationId="{00D4BB6A-0DD0-4B80-9845-0467B947A6BE}"/>
          </ac:spMkLst>
        </pc:spChg>
      </pc:sldChg>
      <pc:sldChg chg="add del">
        <pc:chgData name="Meyer Raphael (PAR-ES)" userId="79615dfe-ed48-4e74-a40f-4f7b034c1c27" providerId="ADAL" clId="{78FD9AF3-DD98-49F5-BF8B-FC56F13A595F}" dt="2022-03-09T13:49:09.503" v="19" actId="47"/>
        <pc:sldMkLst>
          <pc:docMk/>
          <pc:sldMk cId="3764143661" sldId="415"/>
        </pc:sldMkLst>
      </pc:sldChg>
      <pc:sldChg chg="modSp add mod">
        <pc:chgData name="Meyer Raphael (PAR-ES)" userId="79615dfe-ed48-4e74-a40f-4f7b034c1c27" providerId="ADAL" clId="{78FD9AF3-DD98-49F5-BF8B-FC56F13A595F}" dt="2022-03-09T13:55:39.628" v="75" actId="27918"/>
        <pc:sldMkLst>
          <pc:docMk/>
          <pc:sldMk cId="3878003729" sldId="415"/>
        </pc:sldMkLst>
        <pc:spChg chg="mod">
          <ac:chgData name="Meyer Raphael (PAR-ES)" userId="79615dfe-ed48-4e74-a40f-4f7b034c1c27" providerId="ADAL" clId="{78FD9AF3-DD98-49F5-BF8B-FC56F13A595F}" dt="2022-03-09T13:53:38.095" v="48" actId="20577"/>
          <ac:spMkLst>
            <pc:docMk/>
            <pc:sldMk cId="3878003729" sldId="415"/>
            <ac:spMk id="2" creationId="{00000000-0000-0000-0000-000000000000}"/>
          </ac:spMkLst>
        </pc:spChg>
        <pc:spChg chg="mod">
          <ac:chgData name="Meyer Raphael (PAR-ES)" userId="79615dfe-ed48-4e74-a40f-4f7b034c1c27" providerId="ADAL" clId="{78FD9AF3-DD98-49F5-BF8B-FC56F13A595F}" dt="2022-03-09T13:54:22.863" v="60" actId="20577"/>
          <ac:spMkLst>
            <pc:docMk/>
            <pc:sldMk cId="3878003729" sldId="415"/>
            <ac:spMk id="11" creationId="{51A102DA-4F4E-474F-9E16-1E7F70764A16}"/>
          </ac:spMkLst>
        </pc:spChg>
        <pc:spChg chg="mod">
          <ac:chgData name="Meyer Raphael (PAR-ES)" userId="79615dfe-ed48-4e74-a40f-4f7b034c1c27" providerId="ADAL" clId="{78FD9AF3-DD98-49F5-BF8B-FC56F13A595F}" dt="2022-03-09T13:53:49.614" v="49"/>
          <ac:spMkLst>
            <pc:docMk/>
            <pc:sldMk cId="3878003729" sldId="415"/>
            <ac:spMk id="12" creationId="{00D4BB6A-0DD0-4B80-9845-0467B947A6BE}"/>
          </ac:spMkLst>
        </pc:spChg>
        <pc:spChg chg="mod">
          <ac:chgData name="Meyer Raphael (PAR-ES)" userId="79615dfe-ed48-4e74-a40f-4f7b034c1c27" providerId="ADAL" clId="{78FD9AF3-DD98-49F5-BF8B-FC56F13A595F}" dt="2022-03-09T13:54:39.731" v="66" actId="20577"/>
          <ac:spMkLst>
            <pc:docMk/>
            <pc:sldMk cId="3878003729" sldId="415"/>
            <ac:spMk id="13" creationId="{CB2EBD8C-0882-42C3-B5F5-BA01B7BFF2C3}"/>
          </ac:spMkLst>
        </pc:spChg>
      </pc:sldChg>
      <pc:sldChg chg="modSp add mod">
        <pc:chgData name="Meyer Raphael (PAR-ES)" userId="79615dfe-ed48-4e74-a40f-4f7b034c1c27" providerId="ADAL" clId="{78FD9AF3-DD98-49F5-BF8B-FC56F13A595F}" dt="2022-03-09T13:58:52.464" v="97" actId="27918"/>
        <pc:sldMkLst>
          <pc:docMk/>
          <pc:sldMk cId="2150380132" sldId="416"/>
        </pc:sldMkLst>
        <pc:spChg chg="mod">
          <ac:chgData name="Meyer Raphael (PAR-ES)" userId="79615dfe-ed48-4e74-a40f-4f7b034c1c27" providerId="ADAL" clId="{78FD9AF3-DD98-49F5-BF8B-FC56F13A595F}" dt="2022-03-09T13:56:38.884" v="80" actId="20577"/>
          <ac:spMkLst>
            <pc:docMk/>
            <pc:sldMk cId="2150380132" sldId="416"/>
            <ac:spMk id="2" creationId="{00000000-0000-0000-0000-000000000000}"/>
          </ac:spMkLst>
        </pc:spChg>
        <pc:spChg chg="mod">
          <ac:chgData name="Meyer Raphael (PAR-ES)" userId="79615dfe-ed48-4e74-a40f-4f7b034c1c27" providerId="ADAL" clId="{78FD9AF3-DD98-49F5-BF8B-FC56F13A595F}" dt="2022-03-09T13:57:02.897" v="86" actId="20577"/>
          <ac:spMkLst>
            <pc:docMk/>
            <pc:sldMk cId="2150380132" sldId="416"/>
            <ac:spMk id="11" creationId="{51A102DA-4F4E-474F-9E16-1E7F70764A16}"/>
          </ac:spMkLst>
        </pc:spChg>
        <pc:spChg chg="mod">
          <ac:chgData name="Meyer Raphael (PAR-ES)" userId="79615dfe-ed48-4e74-a40f-4f7b034c1c27" providerId="ADAL" clId="{78FD9AF3-DD98-49F5-BF8B-FC56F13A595F}" dt="2022-03-09T13:56:50.781" v="81"/>
          <ac:spMkLst>
            <pc:docMk/>
            <pc:sldMk cId="2150380132" sldId="416"/>
            <ac:spMk id="12" creationId="{00D4BB6A-0DD0-4B80-9845-0467B947A6BE}"/>
          </ac:spMkLst>
        </pc:spChg>
        <pc:spChg chg="mod">
          <ac:chgData name="Meyer Raphael (PAR-ES)" userId="79615dfe-ed48-4e74-a40f-4f7b034c1c27" providerId="ADAL" clId="{78FD9AF3-DD98-49F5-BF8B-FC56F13A595F}" dt="2022-03-09T13:57:39.484" v="92" actId="20577"/>
          <ac:spMkLst>
            <pc:docMk/>
            <pc:sldMk cId="2150380132" sldId="416"/>
            <ac:spMk id="13" creationId="{CB2EBD8C-0882-42C3-B5F5-BA01B7BFF2C3}"/>
          </ac:spMkLst>
        </pc:spChg>
      </pc:sldChg>
      <pc:sldChg chg="add del">
        <pc:chgData name="Meyer Raphael (PAR-ES)" userId="79615dfe-ed48-4e74-a40f-4f7b034c1c27" providerId="ADAL" clId="{78FD9AF3-DD98-49F5-BF8B-FC56F13A595F}" dt="2022-03-09T13:49:09.503" v="19" actId="47"/>
        <pc:sldMkLst>
          <pc:docMk/>
          <pc:sldMk cId="2931763869" sldId="416"/>
        </pc:sldMkLst>
      </pc:sldChg>
    </pc:docChg>
  </pc:docChgLst>
  <pc:docChgLst>
    <pc:chgData name="Meyer Raphael (PAR-ES)" userId="79615dfe-ed48-4e74-a40f-4f7b034c1c27" providerId="ADAL" clId="{8ED4C5ED-7DA1-4D25-AE40-43BBDDBEAFEC}"/>
    <pc:docChg chg="custSel addSld delSld modSld sldOrd">
      <pc:chgData name="Meyer Raphael (PAR-ES)" userId="79615dfe-ed48-4e74-a40f-4f7b034c1c27" providerId="ADAL" clId="{8ED4C5ED-7DA1-4D25-AE40-43BBDDBEAFEC}" dt="2021-03-04T08:12:15.835" v="109"/>
      <pc:docMkLst>
        <pc:docMk/>
      </pc:docMkLst>
      <pc:sldChg chg="modSp mod">
        <pc:chgData name="Meyer Raphael (PAR-ES)" userId="79615dfe-ed48-4e74-a40f-4f7b034c1c27" providerId="ADAL" clId="{8ED4C5ED-7DA1-4D25-AE40-43BBDDBEAFEC}" dt="2021-03-04T08:11:56.176" v="105" actId="1076"/>
        <pc:sldMkLst>
          <pc:docMk/>
          <pc:sldMk cId="1667945532" sldId="306"/>
        </pc:sldMkLst>
        <pc:spChg chg="mod">
          <ac:chgData name="Meyer Raphael (PAR-ES)" userId="79615dfe-ed48-4e74-a40f-4f7b034c1c27" providerId="ADAL" clId="{8ED4C5ED-7DA1-4D25-AE40-43BBDDBEAFEC}" dt="2021-03-04T08:05:50.343" v="73" actId="1076"/>
          <ac:spMkLst>
            <pc:docMk/>
            <pc:sldMk cId="1667945532" sldId="306"/>
            <ac:spMk id="8" creationId="{5857C2A1-2CB8-4D4A-AEFD-E809BF73D04F}"/>
          </ac:spMkLst>
        </pc:spChg>
        <pc:spChg chg="mod">
          <ac:chgData name="Meyer Raphael (PAR-ES)" userId="79615dfe-ed48-4e74-a40f-4f7b034c1c27" providerId="ADAL" clId="{8ED4C5ED-7DA1-4D25-AE40-43BBDDBEAFEC}" dt="2021-03-04T07:58:43.994" v="13" actId="20577"/>
          <ac:spMkLst>
            <pc:docMk/>
            <pc:sldMk cId="1667945532" sldId="306"/>
            <ac:spMk id="27" creationId="{46A6B042-39EE-4A58-BBAA-13D52264B660}"/>
          </ac:spMkLst>
        </pc:spChg>
        <pc:spChg chg="mod">
          <ac:chgData name="Meyer Raphael (PAR-ES)" userId="79615dfe-ed48-4e74-a40f-4f7b034c1c27" providerId="ADAL" clId="{8ED4C5ED-7DA1-4D25-AE40-43BBDDBEAFEC}" dt="2021-03-04T08:11:56.176" v="105" actId="1076"/>
          <ac:spMkLst>
            <pc:docMk/>
            <pc:sldMk cId="1667945532" sldId="306"/>
            <ac:spMk id="28" creationId="{4492A3CD-6943-423D-BFEC-8129889E8B6F}"/>
          </ac:spMkLst>
        </pc:spChg>
        <pc:spChg chg="mod">
          <ac:chgData name="Meyer Raphael (PAR-ES)" userId="79615dfe-ed48-4e74-a40f-4f7b034c1c27" providerId="ADAL" clId="{8ED4C5ED-7DA1-4D25-AE40-43BBDDBEAFEC}" dt="2021-03-04T07:58:59.544" v="17" actId="20577"/>
          <ac:spMkLst>
            <pc:docMk/>
            <pc:sldMk cId="1667945532" sldId="306"/>
            <ac:spMk id="31" creationId="{7491A47D-CAD4-478D-8F3A-296FFCB799F9}"/>
          </ac:spMkLst>
        </pc:spChg>
        <pc:cxnChg chg="mod">
          <ac:chgData name="Meyer Raphael (PAR-ES)" userId="79615dfe-ed48-4e74-a40f-4f7b034c1c27" providerId="ADAL" clId="{8ED4C5ED-7DA1-4D25-AE40-43BBDDBEAFEC}" dt="2021-03-04T08:05:36.734" v="71" actId="1076"/>
          <ac:cxnSpMkLst>
            <pc:docMk/>
            <pc:sldMk cId="1667945532" sldId="306"/>
            <ac:cxnSpMk id="20" creationId="{07FCC63F-5E2F-43DF-84ED-5FFEC92A0042}"/>
          </ac:cxnSpMkLst>
        </pc:cxnChg>
      </pc:sldChg>
      <pc:sldChg chg="del ord">
        <pc:chgData name="Meyer Raphael (PAR-ES)" userId="79615dfe-ed48-4e74-a40f-4f7b034c1c27" providerId="ADAL" clId="{8ED4C5ED-7DA1-4D25-AE40-43BBDDBEAFEC}" dt="2021-03-04T08:09:58.474" v="93" actId="2696"/>
        <pc:sldMkLst>
          <pc:docMk/>
          <pc:sldMk cId="423704220" sldId="332"/>
        </pc:sldMkLst>
      </pc:sldChg>
      <pc:sldChg chg="modSp del ord">
        <pc:chgData name="Meyer Raphael (PAR-ES)" userId="79615dfe-ed48-4e74-a40f-4f7b034c1c27" providerId="ADAL" clId="{8ED4C5ED-7DA1-4D25-AE40-43BBDDBEAFEC}" dt="2021-03-04T08:11:30.113" v="104" actId="2696"/>
        <pc:sldMkLst>
          <pc:docMk/>
          <pc:sldMk cId="3676330928" sldId="333"/>
        </pc:sldMkLst>
        <pc:spChg chg="mod">
          <ac:chgData name="Meyer Raphael (PAR-ES)" userId="79615dfe-ed48-4e74-a40f-4f7b034c1c27" providerId="ADAL" clId="{8ED4C5ED-7DA1-4D25-AE40-43BBDDBEAFEC}" dt="2021-03-04T08:11:01.674" v="102"/>
          <ac:spMkLst>
            <pc:docMk/>
            <pc:sldMk cId="3676330928" sldId="333"/>
            <ac:spMk id="10" creationId="{077DFD58-E5EE-4B68-9325-D935DB04DD40}"/>
          </ac:spMkLst>
        </pc:spChg>
      </pc:sldChg>
      <pc:sldChg chg="addSp delSp modSp add">
        <pc:chgData name="Meyer Raphael (PAR-ES)" userId="79615dfe-ed48-4e74-a40f-4f7b034c1c27" providerId="ADAL" clId="{8ED4C5ED-7DA1-4D25-AE40-43BBDDBEAFEC}" dt="2021-03-04T08:12:14.834" v="108"/>
        <pc:sldMkLst>
          <pc:docMk/>
          <pc:sldMk cId="1837760195" sldId="334"/>
        </pc:sldMkLst>
        <pc:spChg chg="mod">
          <ac:chgData name="Meyer Raphael (PAR-ES)" userId="79615dfe-ed48-4e74-a40f-4f7b034c1c27" providerId="ADAL" clId="{8ED4C5ED-7DA1-4D25-AE40-43BBDDBEAFEC}" dt="2021-03-04T08:07:09.276" v="82"/>
          <ac:spMkLst>
            <pc:docMk/>
            <pc:sldMk cId="1837760195" sldId="334"/>
            <ac:spMk id="2" creationId="{A2DC317F-F1F4-4624-8FC1-3B68C1DBB3DA}"/>
          </ac:spMkLst>
        </pc:spChg>
        <pc:spChg chg="del">
          <ac:chgData name="Meyer Raphael (PAR-ES)" userId="79615dfe-ed48-4e74-a40f-4f7b034c1c27" providerId="ADAL" clId="{8ED4C5ED-7DA1-4D25-AE40-43BBDDBEAFEC}" dt="2021-03-04T08:06:36.468" v="78" actId="478"/>
          <ac:spMkLst>
            <pc:docMk/>
            <pc:sldMk cId="1837760195" sldId="334"/>
            <ac:spMk id="7" creationId="{BA3F9A72-0541-4D1F-8CD8-1C2B8074FA1B}"/>
          </ac:spMkLst>
        </pc:spChg>
        <pc:spChg chg="mod">
          <ac:chgData name="Meyer Raphael (PAR-ES)" userId="79615dfe-ed48-4e74-a40f-4f7b034c1c27" providerId="ADAL" clId="{8ED4C5ED-7DA1-4D25-AE40-43BBDDBEAFEC}" dt="2021-03-04T08:06:59.291" v="81" actId="14100"/>
          <ac:spMkLst>
            <pc:docMk/>
            <pc:sldMk cId="1837760195" sldId="334"/>
            <ac:spMk id="8" creationId="{5857C2A1-2CB8-4D4A-AEFD-E809BF73D04F}"/>
          </ac:spMkLst>
        </pc:spChg>
        <pc:spChg chg="del">
          <ac:chgData name="Meyer Raphael (PAR-ES)" userId="79615dfe-ed48-4e74-a40f-4f7b034c1c27" providerId="ADAL" clId="{8ED4C5ED-7DA1-4D25-AE40-43BBDDBEAFEC}" dt="2021-03-04T08:06:36.468" v="78" actId="478"/>
          <ac:spMkLst>
            <pc:docMk/>
            <pc:sldMk cId="1837760195" sldId="334"/>
            <ac:spMk id="9" creationId="{B6990B61-32B2-4ADC-BF01-EDF7B4080F97}"/>
          </ac:spMkLst>
        </pc:spChg>
        <pc:spChg chg="mod">
          <ac:chgData name="Meyer Raphael (PAR-ES)" userId="79615dfe-ed48-4e74-a40f-4f7b034c1c27" providerId="ADAL" clId="{8ED4C5ED-7DA1-4D25-AE40-43BBDDBEAFEC}" dt="2021-03-04T08:07:17.599" v="83"/>
          <ac:spMkLst>
            <pc:docMk/>
            <pc:sldMk cId="1837760195" sldId="334"/>
            <ac:spMk id="10" creationId="{077DFD58-E5EE-4B68-9325-D935DB04DD40}"/>
          </ac:spMkLst>
        </pc:spChg>
        <pc:spChg chg="del">
          <ac:chgData name="Meyer Raphael (PAR-ES)" userId="79615dfe-ed48-4e74-a40f-4f7b034c1c27" providerId="ADAL" clId="{8ED4C5ED-7DA1-4D25-AE40-43BBDDBEAFEC}" dt="2021-03-04T08:06:36.468" v="78" actId="478"/>
          <ac:spMkLst>
            <pc:docMk/>
            <pc:sldMk cId="1837760195" sldId="334"/>
            <ac:spMk id="17" creationId="{785E740C-F94A-4208-8DFD-63A603C16577}"/>
          </ac:spMkLst>
        </pc:spChg>
        <pc:spChg chg="add">
          <ac:chgData name="Meyer Raphael (PAR-ES)" userId="79615dfe-ed48-4e74-a40f-4f7b034c1c27" providerId="ADAL" clId="{8ED4C5ED-7DA1-4D25-AE40-43BBDDBEAFEC}" dt="2021-03-04T08:06:48.938" v="79"/>
          <ac:spMkLst>
            <pc:docMk/>
            <pc:sldMk cId="1837760195" sldId="334"/>
            <ac:spMk id="23" creationId="{F8081A8E-3C16-4BC1-8843-5B0CDB9D1B73}"/>
          </ac:spMkLst>
        </pc:spChg>
        <pc:spChg chg="del">
          <ac:chgData name="Meyer Raphael (PAR-ES)" userId="79615dfe-ed48-4e74-a40f-4f7b034c1c27" providerId="ADAL" clId="{8ED4C5ED-7DA1-4D25-AE40-43BBDDBEAFEC}" dt="2021-03-04T08:06:36.468" v="78" actId="478"/>
          <ac:spMkLst>
            <pc:docMk/>
            <pc:sldMk cId="1837760195" sldId="334"/>
            <ac:spMk id="26" creationId="{BFD498B5-D73E-4C8A-9FAF-B3547647538C}"/>
          </ac:spMkLst>
        </pc:spChg>
        <pc:spChg chg="mod">
          <ac:chgData name="Meyer Raphael (PAR-ES)" userId="79615dfe-ed48-4e74-a40f-4f7b034c1c27" providerId="ADAL" clId="{8ED4C5ED-7DA1-4D25-AE40-43BBDDBEAFEC}" dt="2021-03-04T08:07:33.244" v="84"/>
          <ac:spMkLst>
            <pc:docMk/>
            <pc:sldMk cId="1837760195" sldId="334"/>
            <ac:spMk id="27" creationId="{46A6B042-39EE-4A58-BBAA-13D52264B660}"/>
          </ac:spMkLst>
        </pc:spChg>
        <pc:spChg chg="del">
          <ac:chgData name="Meyer Raphael (PAR-ES)" userId="79615dfe-ed48-4e74-a40f-4f7b034c1c27" providerId="ADAL" clId="{8ED4C5ED-7DA1-4D25-AE40-43BBDDBEAFEC}" dt="2021-03-04T08:12:03.812" v="106" actId="478"/>
          <ac:spMkLst>
            <pc:docMk/>
            <pc:sldMk cId="1837760195" sldId="334"/>
            <ac:spMk id="28" creationId="{4492A3CD-6943-423D-BFEC-8129889E8B6F}"/>
          </ac:spMkLst>
        </pc:spChg>
        <pc:spChg chg="add">
          <ac:chgData name="Meyer Raphael (PAR-ES)" userId="79615dfe-ed48-4e74-a40f-4f7b034c1c27" providerId="ADAL" clId="{8ED4C5ED-7DA1-4D25-AE40-43BBDDBEAFEC}" dt="2021-03-04T08:06:48.938" v="79"/>
          <ac:spMkLst>
            <pc:docMk/>
            <pc:sldMk cId="1837760195" sldId="334"/>
            <ac:spMk id="33" creationId="{436FA842-59C5-482D-A389-D046FA0A1045}"/>
          </ac:spMkLst>
        </pc:spChg>
        <pc:spChg chg="add">
          <ac:chgData name="Meyer Raphael (PAR-ES)" userId="79615dfe-ed48-4e74-a40f-4f7b034c1c27" providerId="ADAL" clId="{8ED4C5ED-7DA1-4D25-AE40-43BBDDBEAFEC}" dt="2021-03-04T08:06:48.938" v="79"/>
          <ac:spMkLst>
            <pc:docMk/>
            <pc:sldMk cId="1837760195" sldId="334"/>
            <ac:spMk id="36" creationId="{F84D2091-F2C6-4CFF-95B5-76F1378F3767}"/>
          </ac:spMkLst>
        </pc:spChg>
        <pc:spChg chg="add">
          <ac:chgData name="Meyer Raphael (PAR-ES)" userId="79615dfe-ed48-4e74-a40f-4f7b034c1c27" providerId="ADAL" clId="{8ED4C5ED-7DA1-4D25-AE40-43BBDDBEAFEC}" dt="2021-03-04T08:06:48.938" v="79"/>
          <ac:spMkLst>
            <pc:docMk/>
            <pc:sldMk cId="1837760195" sldId="334"/>
            <ac:spMk id="37" creationId="{E30A101F-8A88-4198-BB82-EA8E9B372A50}"/>
          </ac:spMkLst>
        </pc:spChg>
        <pc:spChg chg="add">
          <ac:chgData name="Meyer Raphael (PAR-ES)" userId="79615dfe-ed48-4e74-a40f-4f7b034c1c27" providerId="ADAL" clId="{8ED4C5ED-7DA1-4D25-AE40-43BBDDBEAFEC}" dt="2021-03-04T08:12:14.834" v="108"/>
          <ac:spMkLst>
            <pc:docMk/>
            <pc:sldMk cId="1837760195" sldId="334"/>
            <ac:spMk id="38" creationId="{39CB4F53-3602-46FA-981C-A72F1EA9BD8C}"/>
          </ac:spMkLst>
        </pc:spChg>
      </pc:sldChg>
      <pc:sldChg chg="addSp delSp modSp add">
        <pc:chgData name="Meyer Raphael (PAR-ES)" userId="79615dfe-ed48-4e74-a40f-4f7b034c1c27" providerId="ADAL" clId="{8ED4C5ED-7DA1-4D25-AE40-43BBDDBEAFEC}" dt="2021-03-04T08:12:15.835" v="109"/>
        <pc:sldMkLst>
          <pc:docMk/>
          <pc:sldMk cId="3853260059" sldId="335"/>
        </pc:sldMkLst>
        <pc:spChg chg="mod">
          <ac:chgData name="Meyer Raphael (PAR-ES)" userId="79615dfe-ed48-4e74-a40f-4f7b034c1c27" providerId="ADAL" clId="{8ED4C5ED-7DA1-4D25-AE40-43BBDDBEAFEC}" dt="2021-03-04T08:10:54.390" v="100"/>
          <ac:spMkLst>
            <pc:docMk/>
            <pc:sldMk cId="3853260059" sldId="335"/>
            <ac:spMk id="2" creationId="{A2DC317F-F1F4-4624-8FC1-3B68C1DBB3DA}"/>
          </ac:spMkLst>
        </pc:spChg>
        <pc:spChg chg="del">
          <ac:chgData name="Meyer Raphael (PAR-ES)" userId="79615dfe-ed48-4e74-a40f-4f7b034c1c27" providerId="ADAL" clId="{8ED4C5ED-7DA1-4D25-AE40-43BBDDBEAFEC}" dt="2021-03-04T08:10:11.352" v="94" actId="478"/>
          <ac:spMkLst>
            <pc:docMk/>
            <pc:sldMk cId="3853260059" sldId="335"/>
            <ac:spMk id="7" creationId="{BA3F9A72-0541-4D1F-8CD8-1C2B8074FA1B}"/>
          </ac:spMkLst>
        </pc:spChg>
        <pc:spChg chg="mod">
          <ac:chgData name="Meyer Raphael (PAR-ES)" userId="79615dfe-ed48-4e74-a40f-4f7b034c1c27" providerId="ADAL" clId="{8ED4C5ED-7DA1-4D25-AE40-43BBDDBEAFEC}" dt="2021-03-04T08:10:33.336" v="97" actId="14100"/>
          <ac:spMkLst>
            <pc:docMk/>
            <pc:sldMk cId="3853260059" sldId="335"/>
            <ac:spMk id="8" creationId="{5857C2A1-2CB8-4D4A-AEFD-E809BF73D04F}"/>
          </ac:spMkLst>
        </pc:spChg>
        <pc:spChg chg="del">
          <ac:chgData name="Meyer Raphael (PAR-ES)" userId="79615dfe-ed48-4e74-a40f-4f7b034c1c27" providerId="ADAL" clId="{8ED4C5ED-7DA1-4D25-AE40-43BBDDBEAFEC}" dt="2021-03-04T08:10:11.352" v="94" actId="478"/>
          <ac:spMkLst>
            <pc:docMk/>
            <pc:sldMk cId="3853260059" sldId="335"/>
            <ac:spMk id="9" creationId="{B6990B61-32B2-4ADC-BF01-EDF7B4080F97}"/>
          </ac:spMkLst>
        </pc:spChg>
        <pc:spChg chg="mod">
          <ac:chgData name="Meyer Raphael (PAR-ES)" userId="79615dfe-ed48-4e74-a40f-4f7b034c1c27" providerId="ADAL" clId="{8ED4C5ED-7DA1-4D25-AE40-43BBDDBEAFEC}" dt="2021-03-04T08:11:07.099" v="103"/>
          <ac:spMkLst>
            <pc:docMk/>
            <pc:sldMk cId="3853260059" sldId="335"/>
            <ac:spMk id="10" creationId="{077DFD58-E5EE-4B68-9325-D935DB04DD40}"/>
          </ac:spMkLst>
        </pc:spChg>
        <pc:spChg chg="del">
          <ac:chgData name="Meyer Raphael (PAR-ES)" userId="79615dfe-ed48-4e74-a40f-4f7b034c1c27" providerId="ADAL" clId="{8ED4C5ED-7DA1-4D25-AE40-43BBDDBEAFEC}" dt="2021-03-04T08:10:11.352" v="94" actId="478"/>
          <ac:spMkLst>
            <pc:docMk/>
            <pc:sldMk cId="3853260059" sldId="335"/>
            <ac:spMk id="17" creationId="{785E740C-F94A-4208-8DFD-63A603C16577}"/>
          </ac:spMkLst>
        </pc:spChg>
        <pc:spChg chg="add">
          <ac:chgData name="Meyer Raphael (PAR-ES)" userId="79615dfe-ed48-4e74-a40f-4f7b034c1c27" providerId="ADAL" clId="{8ED4C5ED-7DA1-4D25-AE40-43BBDDBEAFEC}" dt="2021-03-04T08:10:22.766" v="95"/>
          <ac:spMkLst>
            <pc:docMk/>
            <pc:sldMk cId="3853260059" sldId="335"/>
            <ac:spMk id="23" creationId="{A4173DE9-6EBB-4D06-AAA6-5A45C16B73F2}"/>
          </ac:spMkLst>
        </pc:spChg>
        <pc:spChg chg="del">
          <ac:chgData name="Meyer Raphael (PAR-ES)" userId="79615dfe-ed48-4e74-a40f-4f7b034c1c27" providerId="ADAL" clId="{8ED4C5ED-7DA1-4D25-AE40-43BBDDBEAFEC}" dt="2021-03-04T08:10:11.352" v="94" actId="478"/>
          <ac:spMkLst>
            <pc:docMk/>
            <pc:sldMk cId="3853260059" sldId="335"/>
            <ac:spMk id="26" creationId="{BFD498B5-D73E-4C8A-9FAF-B3547647538C}"/>
          </ac:spMkLst>
        </pc:spChg>
        <pc:spChg chg="mod">
          <ac:chgData name="Meyer Raphael (PAR-ES)" userId="79615dfe-ed48-4e74-a40f-4f7b034c1c27" providerId="ADAL" clId="{8ED4C5ED-7DA1-4D25-AE40-43BBDDBEAFEC}" dt="2021-03-04T08:10:46.068" v="99" actId="14100"/>
          <ac:spMkLst>
            <pc:docMk/>
            <pc:sldMk cId="3853260059" sldId="335"/>
            <ac:spMk id="27" creationId="{46A6B042-39EE-4A58-BBAA-13D52264B660}"/>
          </ac:spMkLst>
        </pc:spChg>
        <pc:spChg chg="del">
          <ac:chgData name="Meyer Raphael (PAR-ES)" userId="79615dfe-ed48-4e74-a40f-4f7b034c1c27" providerId="ADAL" clId="{8ED4C5ED-7DA1-4D25-AE40-43BBDDBEAFEC}" dt="2021-03-04T08:12:08.515" v="107" actId="478"/>
          <ac:spMkLst>
            <pc:docMk/>
            <pc:sldMk cId="3853260059" sldId="335"/>
            <ac:spMk id="28" creationId="{4492A3CD-6943-423D-BFEC-8129889E8B6F}"/>
          </ac:spMkLst>
        </pc:spChg>
        <pc:spChg chg="add">
          <ac:chgData name="Meyer Raphael (PAR-ES)" userId="79615dfe-ed48-4e74-a40f-4f7b034c1c27" providerId="ADAL" clId="{8ED4C5ED-7DA1-4D25-AE40-43BBDDBEAFEC}" dt="2021-03-04T08:10:22.766" v="95"/>
          <ac:spMkLst>
            <pc:docMk/>
            <pc:sldMk cId="3853260059" sldId="335"/>
            <ac:spMk id="33" creationId="{3BE11088-D503-45DA-A54D-9D835AFB4815}"/>
          </ac:spMkLst>
        </pc:spChg>
        <pc:spChg chg="add">
          <ac:chgData name="Meyer Raphael (PAR-ES)" userId="79615dfe-ed48-4e74-a40f-4f7b034c1c27" providerId="ADAL" clId="{8ED4C5ED-7DA1-4D25-AE40-43BBDDBEAFEC}" dt="2021-03-04T08:10:22.766" v="95"/>
          <ac:spMkLst>
            <pc:docMk/>
            <pc:sldMk cId="3853260059" sldId="335"/>
            <ac:spMk id="36" creationId="{67CAA1D9-CB4A-4B7E-A980-96001E439725}"/>
          </ac:spMkLst>
        </pc:spChg>
        <pc:spChg chg="add">
          <ac:chgData name="Meyer Raphael (PAR-ES)" userId="79615dfe-ed48-4e74-a40f-4f7b034c1c27" providerId="ADAL" clId="{8ED4C5ED-7DA1-4D25-AE40-43BBDDBEAFEC}" dt="2021-03-04T08:10:22.766" v="95"/>
          <ac:spMkLst>
            <pc:docMk/>
            <pc:sldMk cId="3853260059" sldId="335"/>
            <ac:spMk id="37" creationId="{32662B2A-43CD-4B8D-95E7-5719F102752C}"/>
          </ac:spMkLst>
        </pc:spChg>
        <pc:spChg chg="add">
          <ac:chgData name="Meyer Raphael (PAR-ES)" userId="79615dfe-ed48-4e74-a40f-4f7b034c1c27" providerId="ADAL" clId="{8ED4C5ED-7DA1-4D25-AE40-43BBDDBEAFEC}" dt="2021-03-04T08:12:15.835" v="109"/>
          <ac:spMkLst>
            <pc:docMk/>
            <pc:sldMk cId="3853260059" sldId="335"/>
            <ac:spMk id="38" creationId="{C560343E-7E57-4F56-A2F7-BC158B546710}"/>
          </ac:spMkLst>
        </pc:spChg>
      </pc:sldChg>
    </pc:docChg>
  </pc:docChgLst>
  <pc:docChgLst>
    <pc:chgData name="Meyer Raphael (PAR-ES)" userId="79615dfe-ed48-4e74-a40f-4f7b034c1c27" providerId="ADAL" clId="{EE4B723A-9766-4E02-AF64-B4A3F3A783ED}"/>
    <pc:docChg chg="delSld modSld sldOrd">
      <pc:chgData name="Meyer Raphael (PAR-ES)" userId="79615dfe-ed48-4e74-a40f-4f7b034c1c27" providerId="ADAL" clId="{EE4B723A-9766-4E02-AF64-B4A3F3A783ED}" dt="2021-10-18T07:56:07.780" v="25" actId="47"/>
      <pc:docMkLst>
        <pc:docMk/>
      </pc:docMkLst>
      <pc:sldChg chg="del">
        <pc:chgData name="Meyer Raphael (PAR-ES)" userId="79615dfe-ed48-4e74-a40f-4f7b034c1c27" providerId="ADAL" clId="{EE4B723A-9766-4E02-AF64-B4A3F3A783ED}" dt="2021-10-18T07:56:07.780" v="25" actId="47"/>
        <pc:sldMkLst>
          <pc:docMk/>
          <pc:sldMk cId="1495152177" sldId="298"/>
        </pc:sldMkLst>
      </pc:sldChg>
      <pc:sldChg chg="del">
        <pc:chgData name="Meyer Raphael (PAR-ES)" userId="79615dfe-ed48-4e74-a40f-4f7b034c1c27" providerId="ADAL" clId="{EE4B723A-9766-4E02-AF64-B4A3F3A783ED}" dt="2021-10-18T07:56:07.780" v="25" actId="47"/>
        <pc:sldMkLst>
          <pc:docMk/>
          <pc:sldMk cId="3590012689" sldId="365"/>
        </pc:sldMkLst>
      </pc:sldChg>
      <pc:sldChg chg="del">
        <pc:chgData name="Meyer Raphael (PAR-ES)" userId="79615dfe-ed48-4e74-a40f-4f7b034c1c27" providerId="ADAL" clId="{EE4B723A-9766-4E02-AF64-B4A3F3A783ED}" dt="2021-10-18T07:56:07.780" v="25" actId="47"/>
        <pc:sldMkLst>
          <pc:docMk/>
          <pc:sldMk cId="689864941" sldId="366"/>
        </pc:sldMkLst>
      </pc:sldChg>
      <pc:sldChg chg="modSp mod ord">
        <pc:chgData name="Meyer Raphael (PAR-ES)" userId="79615dfe-ed48-4e74-a40f-4f7b034c1c27" providerId="ADAL" clId="{EE4B723A-9766-4E02-AF64-B4A3F3A783ED}" dt="2021-10-18T07:56:02.863" v="24"/>
        <pc:sldMkLst>
          <pc:docMk/>
          <pc:sldMk cId="2343299233" sldId="374"/>
        </pc:sldMkLst>
        <pc:graphicFrameChg chg="modGraphic">
          <ac:chgData name="Meyer Raphael (PAR-ES)" userId="79615dfe-ed48-4e74-a40f-4f7b034c1c27" providerId="ADAL" clId="{EE4B723A-9766-4E02-AF64-B4A3F3A783ED}" dt="2021-10-18T07:50:21.584" v="7" actId="20577"/>
          <ac:graphicFrameMkLst>
            <pc:docMk/>
            <pc:sldMk cId="2343299233" sldId="374"/>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759573184" sldId="375"/>
        </pc:sldMkLst>
        <pc:graphicFrameChg chg="mod">
          <ac:chgData name="Meyer Raphael (PAR-ES)" userId="79615dfe-ed48-4e74-a40f-4f7b034c1c27" providerId="ADAL" clId="{EE4B723A-9766-4E02-AF64-B4A3F3A783ED}" dt="2021-10-18T07:53:22.666" v="21"/>
          <ac:graphicFrameMkLst>
            <pc:docMk/>
            <pc:sldMk cId="3759573184" sldId="375"/>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027727826" sldId="376"/>
        </pc:sldMkLst>
        <pc:graphicFrameChg chg="mod">
          <ac:chgData name="Meyer Raphael (PAR-ES)" userId="79615dfe-ed48-4e74-a40f-4f7b034c1c27" providerId="ADAL" clId="{EE4B723A-9766-4E02-AF64-B4A3F3A783ED}" dt="2021-10-18T07:53:27.274" v="22"/>
          <ac:graphicFrameMkLst>
            <pc:docMk/>
            <pc:sldMk cId="3027727826" sldId="376"/>
            <ac:graphicFrameMk id="9" creationId="{E1369C63-C4A7-403B-A03F-B004599F910A}"/>
          </ac:graphicFrameMkLst>
        </pc:graphicFrameChg>
      </pc:sldChg>
    </pc:docChg>
  </pc:docChgLst>
  <pc:docChgLst>
    <pc:chgData name="Meyer Raphael (PAR-ES)" userId="79615dfe-ed48-4e74-a40f-4f7b034c1c27" providerId="ADAL" clId="{C3BA7792-AF9F-4D74-B393-5D6FA2F18B07}"/>
    <pc:docChg chg="undo custSel addSld delSld modSld sldOrd">
      <pc:chgData name="Meyer Raphael (PAR-ES)" userId="79615dfe-ed48-4e74-a40f-4f7b034c1c27" providerId="ADAL" clId="{C3BA7792-AF9F-4D74-B393-5D6FA2F18B07}" dt="2021-04-12T12:51:38.587" v="446" actId="478"/>
      <pc:docMkLst>
        <pc:docMk/>
      </pc:docMkLst>
      <pc:sldChg chg="addSp delSp modSp add mod ord">
        <pc:chgData name="Meyer Raphael (PAR-ES)" userId="79615dfe-ed48-4e74-a40f-4f7b034c1c27" providerId="ADAL" clId="{C3BA7792-AF9F-4D74-B393-5D6FA2F18B07}" dt="2021-04-12T12:51:38.587" v="446" actId="478"/>
        <pc:sldMkLst>
          <pc:docMk/>
          <pc:sldMk cId="586406932" sldId="346"/>
        </pc:sldMkLst>
        <pc:spChg chg="mod">
          <ac:chgData name="Meyer Raphael (PAR-ES)" userId="79615dfe-ed48-4e74-a40f-4f7b034c1c27" providerId="ADAL" clId="{C3BA7792-AF9F-4D74-B393-5D6FA2F18B07}" dt="2021-04-12T12:48:45.247" v="435"/>
          <ac:spMkLst>
            <pc:docMk/>
            <pc:sldMk cId="586406932" sldId="346"/>
            <ac:spMk id="2" creationId="{A2DC317F-F1F4-4624-8FC1-3B68C1DBB3DA}"/>
          </ac:spMkLst>
        </pc:spChg>
        <pc:spChg chg="add del mod">
          <ac:chgData name="Meyer Raphael (PAR-ES)" userId="79615dfe-ed48-4e74-a40f-4f7b034c1c27" providerId="ADAL" clId="{C3BA7792-AF9F-4D74-B393-5D6FA2F18B07}" dt="2021-04-12T12:48:38.437" v="434"/>
          <ac:spMkLst>
            <pc:docMk/>
            <pc:sldMk cId="586406932" sldId="346"/>
            <ac:spMk id="3" creationId="{B8D2A0CC-FB16-4EEB-B091-2BA590F22240}"/>
          </ac:spMkLst>
        </pc:spChg>
        <pc:spChg chg="mod">
          <ac:chgData name="Meyer Raphael (PAR-ES)" userId="79615dfe-ed48-4e74-a40f-4f7b034c1c27" providerId="ADAL" clId="{C3BA7792-AF9F-4D74-B393-5D6FA2F18B07}" dt="2021-04-12T12:48:45.247" v="435"/>
          <ac:spMkLst>
            <pc:docMk/>
            <pc:sldMk cId="586406932" sldId="346"/>
            <ac:spMk id="4" creationId="{FE424811-9A99-46D3-9443-AAB22DAEAB5A}"/>
          </ac:spMkLst>
        </pc:spChg>
        <pc:spChg chg="add del mod">
          <ac:chgData name="Meyer Raphael (PAR-ES)" userId="79615dfe-ed48-4e74-a40f-4f7b034c1c27" providerId="ADAL" clId="{C3BA7792-AF9F-4D74-B393-5D6FA2F18B07}" dt="2021-04-12T12:48:45.247" v="435"/>
          <ac:spMkLst>
            <pc:docMk/>
            <pc:sldMk cId="586406932" sldId="346"/>
            <ac:spMk id="6" creationId="{4710D6F0-0B14-4837-8BFF-20373F0447AD}"/>
          </ac:spMkLst>
        </pc:spChg>
        <pc:spChg chg="mod">
          <ac:chgData name="Meyer Raphael (PAR-ES)" userId="79615dfe-ed48-4e74-a40f-4f7b034c1c27" providerId="ADAL" clId="{C3BA7792-AF9F-4D74-B393-5D6FA2F18B07}" dt="2021-04-12T11:49:35.630" v="3" actId="20577"/>
          <ac:spMkLst>
            <pc:docMk/>
            <pc:sldMk cId="586406932" sldId="346"/>
            <ac:spMk id="8" creationId="{5857C2A1-2CB8-4D4A-AEFD-E809BF73D04F}"/>
          </ac:spMkLst>
        </pc:spChg>
        <pc:spChg chg="add del mod">
          <ac:chgData name="Meyer Raphael (PAR-ES)" userId="79615dfe-ed48-4e74-a40f-4f7b034c1c27" providerId="ADAL" clId="{C3BA7792-AF9F-4D74-B393-5D6FA2F18B07}" dt="2021-04-12T12:48:45.247" v="435"/>
          <ac:spMkLst>
            <pc:docMk/>
            <pc:sldMk cId="586406932" sldId="346"/>
            <ac:spMk id="11" creationId="{F963F6DF-AF6F-409A-A583-03F4AC32EB90}"/>
          </ac:spMkLst>
        </pc:spChg>
        <pc:spChg chg="add del mod">
          <ac:chgData name="Meyer Raphael (PAR-ES)" userId="79615dfe-ed48-4e74-a40f-4f7b034c1c27" providerId="ADAL" clId="{C3BA7792-AF9F-4D74-B393-5D6FA2F18B07}" dt="2021-04-12T12:49:20.435" v="438" actId="478"/>
          <ac:spMkLst>
            <pc:docMk/>
            <pc:sldMk cId="586406932" sldId="346"/>
            <ac:spMk id="12" creationId="{3411D213-4220-42CD-AAEB-688E4E8A7BC9}"/>
          </ac:spMkLst>
        </pc:spChg>
        <pc:spChg chg="add del mod">
          <ac:chgData name="Meyer Raphael (PAR-ES)" userId="79615dfe-ed48-4e74-a40f-4f7b034c1c27" providerId="ADAL" clId="{C3BA7792-AF9F-4D74-B393-5D6FA2F18B07}" dt="2021-04-12T12:50:34.577" v="441" actId="478"/>
          <ac:spMkLst>
            <pc:docMk/>
            <pc:sldMk cId="586406932" sldId="346"/>
            <ac:spMk id="13" creationId="{185EF1E4-0ACA-4484-95B1-AA9AE7A114C9}"/>
          </ac:spMkLst>
        </pc:spChg>
        <pc:spChg chg="mod">
          <ac:chgData name="Meyer Raphael (PAR-ES)" userId="79615dfe-ed48-4e74-a40f-4f7b034c1c27" providerId="ADAL" clId="{C3BA7792-AF9F-4D74-B393-5D6FA2F18B07}" dt="2021-04-12T11:50:04.966" v="17" actId="20577"/>
          <ac:spMkLst>
            <pc:docMk/>
            <pc:sldMk cId="586406932" sldId="346"/>
            <ac:spMk id="27" creationId="{46A6B042-39EE-4A58-BBAA-13D52264B660}"/>
          </ac:spMkLst>
        </pc:spChg>
        <pc:spChg chg="mod">
          <ac:chgData name="Meyer Raphael (PAR-ES)" userId="79615dfe-ed48-4e74-a40f-4f7b034c1c27" providerId="ADAL" clId="{C3BA7792-AF9F-4D74-B393-5D6FA2F18B07}" dt="2021-04-12T11:50:15.012" v="29" actId="20577"/>
          <ac:spMkLst>
            <pc:docMk/>
            <pc:sldMk cId="586406932" sldId="346"/>
            <ac:spMk id="31" creationId="{7491A47D-CAD4-478D-8F3A-296FFCB799F9}"/>
          </ac:spMkLst>
        </pc:spChg>
        <pc:graphicFrameChg chg="del">
          <ac:chgData name="Meyer Raphael (PAR-ES)" userId="79615dfe-ed48-4e74-a40f-4f7b034c1c27" providerId="ADAL" clId="{C3BA7792-AF9F-4D74-B393-5D6FA2F18B07}" dt="2021-04-12T12:10:59.272" v="43" actId="478"/>
          <ac:graphicFrameMkLst>
            <pc:docMk/>
            <pc:sldMk cId="586406932" sldId="346"/>
            <ac:graphicFrameMk id="5" creationId="{4CF6AB8B-CAB9-4C7E-8E59-E00357A4D7F0}"/>
          </ac:graphicFrameMkLst>
        </pc:graphicFrameChg>
        <pc:graphicFrameChg chg="add del mod">
          <ac:chgData name="Meyer Raphael (PAR-ES)" userId="79615dfe-ed48-4e74-a40f-4f7b034c1c27" providerId="ADAL" clId="{C3BA7792-AF9F-4D74-B393-5D6FA2F18B07}" dt="2021-04-12T12:50:55.121" v="443" actId="478"/>
          <ac:graphicFrameMkLst>
            <pc:docMk/>
            <pc:sldMk cId="586406932" sldId="346"/>
            <ac:graphicFrameMk id="14" creationId="{5E926C03-53A1-4951-915D-3D1CFA03F9DE}"/>
          </ac:graphicFrameMkLst>
        </pc:graphicFrameChg>
        <pc:graphicFrameChg chg="add del mod">
          <ac:chgData name="Meyer Raphael (PAR-ES)" userId="79615dfe-ed48-4e74-a40f-4f7b034c1c27" providerId="ADAL" clId="{C3BA7792-AF9F-4D74-B393-5D6FA2F18B07}" dt="2021-04-12T12:51:38.587" v="446" actId="478"/>
          <ac:graphicFrameMkLst>
            <pc:docMk/>
            <pc:sldMk cId="586406932" sldId="346"/>
            <ac:graphicFrameMk id="15" creationId="{FB8E307E-E548-4ECB-B1D3-B909DC818477}"/>
          </ac:graphicFrameMkLst>
        </pc:graphicFrameChg>
        <pc:graphicFrameChg chg="add del mod">
          <ac:chgData name="Meyer Raphael (PAR-ES)" userId="79615dfe-ed48-4e74-a40f-4f7b034c1c27" providerId="ADAL" clId="{C3BA7792-AF9F-4D74-B393-5D6FA2F18B07}" dt="2021-04-12T12:12:44.533" v="91" actId="478"/>
          <ac:graphicFrameMkLst>
            <pc:docMk/>
            <pc:sldMk cId="586406932" sldId="346"/>
            <ac:graphicFrameMk id="21" creationId="{B6049B58-D743-4BF8-ADBD-2CBD12961E56}"/>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2" creationId="{4CF6AB8B-CAB9-4C7E-8E59-E00357A4D7F0}"/>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3" creationId="{B6049B58-D743-4BF8-ADBD-2CBD12961E56}"/>
          </ac:graphicFrameMkLst>
        </pc:graphicFrameChg>
        <pc:graphicFrameChg chg="del mod">
          <ac:chgData name="Meyer Raphael (PAR-ES)" userId="79615dfe-ed48-4e74-a40f-4f7b034c1c27" providerId="ADAL" clId="{C3BA7792-AF9F-4D74-B393-5D6FA2F18B07}" dt="2021-04-12T12:15:56.614" v="124" actId="478"/>
          <ac:graphicFrameMkLst>
            <pc:docMk/>
            <pc:sldMk cId="586406932" sldId="346"/>
            <ac:graphicFrameMk id="24" creationId="{B6049B58-D743-4BF8-ADBD-2CBD12961E56}"/>
          </ac:graphicFrameMkLst>
        </pc:graphicFrameChg>
      </pc:sldChg>
      <pc:sldChg chg="add del">
        <pc:chgData name="Meyer Raphael (PAR-ES)" userId="79615dfe-ed48-4e74-a40f-4f7b034c1c27" providerId="ADAL" clId="{C3BA7792-AF9F-4D74-B393-5D6FA2F18B07}" dt="2021-04-12T12:15:12.955" v="122" actId="47"/>
        <pc:sldMkLst>
          <pc:docMk/>
          <pc:sldMk cId="570795323" sldId="347"/>
        </pc:sldMkLst>
      </pc:sldChg>
      <pc:sldChg chg="delSp add del mod">
        <pc:chgData name="Meyer Raphael (PAR-ES)" userId="79615dfe-ed48-4e74-a40f-4f7b034c1c27" providerId="ADAL" clId="{C3BA7792-AF9F-4D74-B393-5D6FA2F18B07}" dt="2021-04-12T11:58:25.133" v="32" actId="47"/>
        <pc:sldMkLst>
          <pc:docMk/>
          <pc:sldMk cId="793490201" sldId="347"/>
        </pc:sldMkLst>
        <pc:graphicFrameChg chg="del">
          <ac:chgData name="Meyer Raphael (PAR-ES)" userId="79615dfe-ed48-4e74-a40f-4f7b034c1c27" providerId="ADAL" clId="{C3BA7792-AF9F-4D74-B393-5D6FA2F18B07}" dt="2021-04-12T11:50:45.289" v="31" actId="478"/>
          <ac:graphicFrameMkLst>
            <pc:docMk/>
            <pc:sldMk cId="793490201" sldId="347"/>
            <ac:graphicFrameMk id="5" creationId="{4CF6AB8B-CAB9-4C7E-8E59-E00357A4D7F0}"/>
          </ac:graphicFrameMkLst>
        </pc:graphicFrameChg>
      </pc:sldChg>
      <pc:sldChg chg="addSp delSp modSp add del mod ord">
        <pc:chgData name="Meyer Raphael (PAR-ES)" userId="79615dfe-ed48-4e74-a40f-4f7b034c1c27" providerId="ADAL" clId="{C3BA7792-AF9F-4D74-B393-5D6FA2F18B07}" dt="2021-04-12T12:22:31.296" v="222" actId="47"/>
        <pc:sldMkLst>
          <pc:docMk/>
          <pc:sldMk cId="2080478051" sldId="347"/>
        </pc:sldMkLst>
        <pc:spChg chg="mod">
          <ac:chgData name="Meyer Raphael (PAR-ES)" userId="79615dfe-ed48-4e74-a40f-4f7b034c1c27" providerId="ADAL" clId="{C3BA7792-AF9F-4D74-B393-5D6FA2F18B07}" dt="2021-04-12T12:20:55.958" v="215"/>
          <ac:spMkLst>
            <pc:docMk/>
            <pc:sldMk cId="2080478051" sldId="347"/>
            <ac:spMk id="2" creationId="{A2DC317F-F1F4-4624-8FC1-3B68C1DBB3DA}"/>
          </ac:spMkLst>
        </pc:spChg>
        <pc:spChg chg="del">
          <ac:chgData name="Meyer Raphael (PAR-ES)" userId="79615dfe-ed48-4e74-a40f-4f7b034c1c27" providerId="ADAL" clId="{C3BA7792-AF9F-4D74-B393-5D6FA2F18B07}" dt="2021-04-12T12:20:29.640" v="213" actId="478"/>
          <ac:spMkLst>
            <pc:docMk/>
            <pc:sldMk cId="2080478051" sldId="347"/>
            <ac:spMk id="7" creationId="{BA3F9A72-0541-4D1F-8CD8-1C2B8074FA1B}"/>
          </ac:spMkLst>
        </pc:spChg>
        <pc:spChg chg="mod">
          <ac:chgData name="Meyer Raphael (PAR-ES)" userId="79615dfe-ed48-4e74-a40f-4f7b034c1c27" providerId="ADAL" clId="{C3BA7792-AF9F-4D74-B393-5D6FA2F18B07}" dt="2021-04-12T12:21:17.372" v="218" actId="14100"/>
          <ac:spMkLst>
            <pc:docMk/>
            <pc:sldMk cId="2080478051" sldId="347"/>
            <ac:spMk id="8" creationId="{5857C2A1-2CB8-4D4A-AEFD-E809BF73D04F}"/>
          </ac:spMkLst>
        </pc:spChg>
        <pc:spChg chg="del">
          <ac:chgData name="Meyer Raphael (PAR-ES)" userId="79615dfe-ed48-4e74-a40f-4f7b034c1c27" providerId="ADAL" clId="{C3BA7792-AF9F-4D74-B393-5D6FA2F18B07}" dt="2021-04-12T12:20:29.640" v="213" actId="478"/>
          <ac:spMkLst>
            <pc:docMk/>
            <pc:sldMk cId="2080478051" sldId="347"/>
            <ac:spMk id="9" creationId="{B6990B61-32B2-4ADC-BF01-EDF7B4080F97}"/>
          </ac:spMkLst>
        </pc:spChg>
        <pc:spChg chg="mod">
          <ac:chgData name="Meyer Raphael (PAR-ES)" userId="79615dfe-ed48-4e74-a40f-4f7b034c1c27" providerId="ADAL" clId="{C3BA7792-AF9F-4D74-B393-5D6FA2F18B07}" dt="2021-04-12T12:21:03.789" v="216"/>
          <ac:spMkLst>
            <pc:docMk/>
            <pc:sldMk cId="2080478051" sldId="347"/>
            <ac:spMk id="10" creationId="{077DFD58-E5EE-4B68-9325-D935DB04DD40}"/>
          </ac:spMkLst>
        </pc:spChg>
        <pc:spChg chg="del">
          <ac:chgData name="Meyer Raphael (PAR-ES)" userId="79615dfe-ed48-4e74-a40f-4f7b034c1c27" providerId="ADAL" clId="{C3BA7792-AF9F-4D74-B393-5D6FA2F18B07}" dt="2021-04-12T12:20:29.640" v="213" actId="478"/>
          <ac:spMkLst>
            <pc:docMk/>
            <pc:sldMk cId="2080478051" sldId="347"/>
            <ac:spMk id="17" creationId="{785E740C-F94A-4208-8DFD-63A603C16577}"/>
          </ac:spMkLst>
        </pc:spChg>
        <pc:spChg chg="add mod">
          <ac:chgData name="Meyer Raphael (PAR-ES)" userId="79615dfe-ed48-4e74-a40f-4f7b034c1c27" providerId="ADAL" clId="{C3BA7792-AF9F-4D74-B393-5D6FA2F18B07}" dt="2021-04-12T12:20:45.302" v="214"/>
          <ac:spMkLst>
            <pc:docMk/>
            <pc:sldMk cId="2080478051" sldId="347"/>
            <ac:spMk id="21" creationId="{CA9B4D89-1FDB-4C7F-B8C7-E63F83FD8165}"/>
          </ac:spMkLst>
        </pc:spChg>
        <pc:spChg chg="add mod">
          <ac:chgData name="Meyer Raphael (PAR-ES)" userId="79615dfe-ed48-4e74-a40f-4f7b034c1c27" providerId="ADAL" clId="{C3BA7792-AF9F-4D74-B393-5D6FA2F18B07}" dt="2021-04-12T12:20:45.302" v="214"/>
          <ac:spMkLst>
            <pc:docMk/>
            <pc:sldMk cId="2080478051" sldId="347"/>
            <ac:spMk id="24" creationId="{B18F89CA-BF06-4B63-8247-682AF06EDE3C}"/>
          </ac:spMkLst>
        </pc:spChg>
        <pc:spChg chg="add mod">
          <ac:chgData name="Meyer Raphael (PAR-ES)" userId="79615dfe-ed48-4e74-a40f-4f7b034c1c27" providerId="ADAL" clId="{C3BA7792-AF9F-4D74-B393-5D6FA2F18B07}" dt="2021-04-12T12:20:45.302" v="214"/>
          <ac:spMkLst>
            <pc:docMk/>
            <pc:sldMk cId="2080478051" sldId="347"/>
            <ac:spMk id="25" creationId="{EBF56033-488B-4FE1-8624-BCF7B2473895}"/>
          </ac:spMkLst>
        </pc:spChg>
        <pc:spChg chg="del">
          <ac:chgData name="Meyer Raphael (PAR-ES)" userId="79615dfe-ed48-4e74-a40f-4f7b034c1c27" providerId="ADAL" clId="{C3BA7792-AF9F-4D74-B393-5D6FA2F18B07}" dt="2021-04-12T12:20:29.640" v="213" actId="478"/>
          <ac:spMkLst>
            <pc:docMk/>
            <pc:sldMk cId="2080478051" sldId="347"/>
            <ac:spMk id="26" creationId="{BFD498B5-D73E-4C8A-9FAF-B3547647538C}"/>
          </ac:spMkLst>
        </pc:spChg>
        <pc:spChg chg="mod">
          <ac:chgData name="Meyer Raphael (PAR-ES)" userId="79615dfe-ed48-4e74-a40f-4f7b034c1c27" providerId="ADAL" clId="{C3BA7792-AF9F-4D74-B393-5D6FA2F18B07}" dt="2021-04-12T12:21:34.857" v="219"/>
          <ac:spMkLst>
            <pc:docMk/>
            <pc:sldMk cId="2080478051" sldId="347"/>
            <ac:spMk id="27" creationId="{46A6B042-39EE-4A58-BBAA-13D52264B660}"/>
          </ac:spMkLst>
        </pc:spChg>
        <pc:spChg chg="add mod">
          <ac:chgData name="Meyer Raphael (PAR-ES)" userId="79615dfe-ed48-4e74-a40f-4f7b034c1c27" providerId="ADAL" clId="{C3BA7792-AF9F-4D74-B393-5D6FA2F18B07}" dt="2021-04-12T12:20:45.302" v="214"/>
          <ac:spMkLst>
            <pc:docMk/>
            <pc:sldMk cId="2080478051" sldId="347"/>
            <ac:spMk id="33" creationId="{92C57804-2D5A-42D3-82B9-CD97A4CCCA92}"/>
          </ac:spMkLst>
        </pc:spChg>
      </pc:sldChg>
      <pc:sldChg chg="add del">
        <pc:chgData name="Meyer Raphael (PAR-ES)" userId="79615dfe-ed48-4e74-a40f-4f7b034c1c27" providerId="ADAL" clId="{C3BA7792-AF9F-4D74-B393-5D6FA2F18B07}" dt="2021-04-12T11:49:30.193" v="1" actId="47"/>
        <pc:sldMkLst>
          <pc:docMk/>
          <pc:sldMk cId="2205717958" sldId="347"/>
        </pc:sldMkLst>
      </pc:sldChg>
      <pc:sldChg chg="addSp delSp modSp add mod ord">
        <pc:chgData name="Meyer Raphael (PAR-ES)" userId="79615dfe-ed48-4e74-a40f-4f7b034c1c27" providerId="ADAL" clId="{C3BA7792-AF9F-4D74-B393-5D6FA2F18B07}" dt="2021-04-12T12:41:14.227" v="428" actId="27918"/>
        <pc:sldMkLst>
          <pc:docMk/>
          <pc:sldMk cId="3321596445" sldId="347"/>
        </pc:sldMkLst>
        <pc:graphicFrameChg chg="del">
          <ac:chgData name="Meyer Raphael (PAR-ES)" userId="79615dfe-ed48-4e74-a40f-4f7b034c1c27" providerId="ADAL" clId="{C3BA7792-AF9F-4D74-B393-5D6FA2F18B07}" dt="2021-04-12T12:22:48.102" v="225" actId="478"/>
          <ac:graphicFrameMkLst>
            <pc:docMk/>
            <pc:sldMk cId="3321596445" sldId="347"/>
            <ac:graphicFrameMk id="5" creationId="{4CF6AB8B-CAB9-4C7E-8E59-E00357A4D7F0}"/>
          </ac:graphicFrameMkLst>
        </pc:graphicFrameChg>
        <pc:graphicFrameChg chg="del">
          <ac:chgData name="Meyer Raphael (PAR-ES)" userId="79615dfe-ed48-4e74-a40f-4f7b034c1c27" providerId="ADAL" clId="{C3BA7792-AF9F-4D74-B393-5D6FA2F18B07}" dt="2021-04-12T12:22:49.921" v="226" actId="478"/>
          <ac:graphicFrameMkLst>
            <pc:docMk/>
            <pc:sldMk cId="3321596445" sldId="347"/>
            <ac:graphicFrameMk id="24" creationId="{B6049B58-D743-4BF8-ADBD-2CBD12961E56}"/>
          </ac:graphicFrameMkLst>
        </pc:graphicFrameChg>
        <pc:graphicFrameChg chg="add del mod">
          <ac:chgData name="Meyer Raphael (PAR-ES)" userId="79615dfe-ed48-4e74-a40f-4f7b034c1c27" providerId="ADAL" clId="{C3BA7792-AF9F-4D74-B393-5D6FA2F18B07}" dt="2021-04-12T12:23:43.941" v="235" actId="478"/>
          <ac:graphicFrameMkLst>
            <pc:docMk/>
            <pc:sldMk cId="3321596445" sldId="347"/>
            <ac:graphicFrameMk id="26" creationId="{0ABC9AA6-5448-4526-95A4-2749C3978D92}"/>
          </ac:graphicFrameMkLst>
        </pc:graphicFrameChg>
        <pc:graphicFrameChg chg="add del mod">
          <ac:chgData name="Meyer Raphael (PAR-ES)" userId="79615dfe-ed48-4e74-a40f-4f7b034c1c27" providerId="ADAL" clId="{C3BA7792-AF9F-4D74-B393-5D6FA2F18B07}" dt="2021-04-12T12:25:39.389" v="257" actId="478"/>
          <ac:graphicFrameMkLst>
            <pc:docMk/>
            <pc:sldMk cId="3321596445" sldId="347"/>
            <ac:graphicFrameMk id="33" creationId="{035A9469-D45F-46D7-A1A1-0BB7FBB1B388}"/>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6" creationId="{4CF6AB8B-CAB9-4C7E-8E59-E00357A4D7F0}"/>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7" creationId="{B6049B58-D743-4BF8-ADBD-2CBD12961E56}"/>
          </ac:graphicFrameMkLst>
        </pc:graphicFrameChg>
      </pc:sldChg>
      <pc:sldChg chg="add del">
        <pc:chgData name="Meyer Raphael (PAR-ES)" userId="79615dfe-ed48-4e74-a40f-4f7b034c1c27" providerId="ADAL" clId="{C3BA7792-AF9F-4D74-B393-5D6FA2F18B07}" dt="2021-04-12T12:22:35.942" v="223" actId="47"/>
        <pc:sldMkLst>
          <pc:docMk/>
          <pc:sldMk cId="840680803" sldId="348"/>
        </pc:sldMkLst>
      </pc:sldChg>
      <pc:sldChg chg="add del">
        <pc:chgData name="Meyer Raphael (PAR-ES)" userId="79615dfe-ed48-4e74-a40f-4f7b034c1c27" providerId="ADAL" clId="{C3BA7792-AF9F-4D74-B393-5D6FA2F18B07}" dt="2021-04-12T12:15:14.238" v="123" actId="47"/>
        <pc:sldMkLst>
          <pc:docMk/>
          <pc:sldMk cId="1904841794" sldId="348"/>
        </pc:sldMkLst>
      </pc:sldChg>
      <pc:sldChg chg="add del">
        <pc:chgData name="Meyer Raphael (PAR-ES)" userId="79615dfe-ed48-4e74-a40f-4f7b034c1c27" providerId="ADAL" clId="{C3BA7792-AF9F-4D74-B393-5D6FA2F18B07}" dt="2021-04-12T11:49:30.193" v="1" actId="47"/>
        <pc:sldMkLst>
          <pc:docMk/>
          <pc:sldMk cId="2765077693" sldId="348"/>
        </pc:sldMkLst>
      </pc:sldChg>
      <pc:sldChg chg="addSp delSp modSp add mod ord">
        <pc:chgData name="Meyer Raphael (PAR-ES)" userId="79615dfe-ed48-4e74-a40f-4f7b034c1c27" providerId="ADAL" clId="{C3BA7792-AF9F-4D74-B393-5D6FA2F18B07}" dt="2021-04-12T12:41:14.244" v="429" actId="27918"/>
        <pc:sldMkLst>
          <pc:docMk/>
          <pc:sldMk cId="3052738061" sldId="348"/>
        </pc:sldMkLst>
        <pc:graphicFrameChg chg="del">
          <ac:chgData name="Meyer Raphael (PAR-ES)" userId="79615dfe-ed48-4e74-a40f-4f7b034c1c27" providerId="ADAL" clId="{C3BA7792-AF9F-4D74-B393-5D6FA2F18B07}" dt="2021-04-12T12:27:33.034" v="325" actId="478"/>
          <ac:graphicFrameMkLst>
            <pc:docMk/>
            <pc:sldMk cId="3052738061" sldId="348"/>
            <ac:graphicFrameMk id="5" creationId="{4CF6AB8B-CAB9-4C7E-8E59-E00357A4D7F0}"/>
          </ac:graphicFrameMkLst>
        </pc:graphicFrameChg>
        <pc:graphicFrameChg chg="add del mod">
          <ac:chgData name="Meyer Raphael (PAR-ES)" userId="79615dfe-ed48-4e74-a40f-4f7b034c1c27" providerId="ADAL" clId="{C3BA7792-AF9F-4D74-B393-5D6FA2F18B07}" dt="2021-04-12T12:28:14.400" v="359" actId="478"/>
          <ac:graphicFrameMkLst>
            <pc:docMk/>
            <pc:sldMk cId="3052738061" sldId="348"/>
            <ac:graphicFrameMk id="24" creationId="{B6049B58-D743-4BF8-ADBD-2CBD12961E56}"/>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5" creationId="{4CF6AB8B-CAB9-4C7E-8E59-E00357A4D7F0}"/>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6" creationId="{B6049B58-D743-4BF8-ADBD-2CBD12961E56}"/>
          </ac:graphicFrameMkLst>
        </pc:graphicFrameChg>
      </pc:sldChg>
    </pc:docChg>
  </pc:docChgLst>
  <pc:docChgLst>
    <pc:chgData name="Weigel Stefan (PAR-ES)" userId="fd3b2067-2981-4ad8-bf3a-d2e1004e4fa8" providerId="ADAL" clId="{93FF54A8-1FFB-4DDA-A3EB-CCC3E28F54C3}"/>
    <pc:docChg chg="modSld">
      <pc:chgData name="Weigel Stefan (PAR-ES)" userId="fd3b2067-2981-4ad8-bf3a-d2e1004e4fa8" providerId="ADAL" clId="{93FF54A8-1FFB-4DDA-A3EB-CCC3E28F54C3}" dt="2023-03-08T11:04:22.187" v="9" actId="27918"/>
      <pc:docMkLst>
        <pc:docMk/>
      </pc:docMkLst>
      <pc:sldChg chg="mod">
        <pc:chgData name="Weigel Stefan (PAR-ES)" userId="fd3b2067-2981-4ad8-bf3a-d2e1004e4fa8" providerId="ADAL" clId="{93FF54A8-1FFB-4DDA-A3EB-CCC3E28F54C3}" dt="2023-03-08T11:04:22.187" v="9" actId="27918"/>
        <pc:sldMkLst>
          <pc:docMk/>
          <pc:sldMk cId="976233813" sldId="417"/>
        </pc:sldMkLst>
      </pc:sldChg>
    </pc:docChg>
  </pc:docChgLst>
  <pc:docChgLst>
    <pc:chgData name="Meyer Raphael (PAR-ES)" userId="79615dfe-ed48-4e74-a40f-4f7b034c1c27" providerId="ADAL" clId="{D0BF9686-3B82-4CF7-A6D6-3C19556E6BFB}"/>
    <pc:docChg chg="undo custSel addSld delSld modSld sldOrd">
      <pc:chgData name="Meyer Raphael (PAR-ES)" userId="79615dfe-ed48-4e74-a40f-4f7b034c1c27" providerId="ADAL" clId="{D0BF9686-3B82-4CF7-A6D6-3C19556E6BFB}" dt="2021-04-08T06:35:27.798" v="85" actId="47"/>
      <pc:docMkLst>
        <pc:docMk/>
      </pc:docMkLst>
      <pc:sldChg chg="modSp mod">
        <pc:chgData name="Meyer Raphael (PAR-ES)" userId="79615dfe-ed48-4e74-a40f-4f7b034c1c27" providerId="ADAL" clId="{D0BF9686-3B82-4CF7-A6D6-3C19556E6BFB}" dt="2021-04-08T06:31:10.289" v="55" actId="27918"/>
        <pc:sldMkLst>
          <pc:docMk/>
          <pc:sldMk cId="1667945532" sldId="306"/>
        </pc:sldMkLst>
        <pc:spChg chg="mod">
          <ac:chgData name="Meyer Raphael (PAR-ES)" userId="79615dfe-ed48-4e74-a40f-4f7b034c1c27" providerId="ADAL" clId="{D0BF9686-3B82-4CF7-A6D6-3C19556E6BFB}" dt="2021-04-08T06:25:46.897" v="1" actId="20577"/>
          <ac:spMkLst>
            <pc:docMk/>
            <pc:sldMk cId="1667945532" sldId="306"/>
            <ac:spMk id="8" creationId="{5857C2A1-2CB8-4D4A-AEFD-E809BF73D04F}"/>
          </ac:spMkLst>
        </pc:spChg>
        <pc:spChg chg="mod">
          <ac:chgData name="Meyer Raphael (PAR-ES)" userId="79615dfe-ed48-4e74-a40f-4f7b034c1c27" providerId="ADAL" clId="{D0BF9686-3B82-4CF7-A6D6-3C19556E6BFB}" dt="2021-04-08T06:26:07.163" v="9" actId="20577"/>
          <ac:spMkLst>
            <pc:docMk/>
            <pc:sldMk cId="1667945532" sldId="306"/>
            <ac:spMk id="27" creationId="{46A6B042-39EE-4A58-BBAA-13D52264B660}"/>
          </ac:spMkLst>
        </pc:spChg>
        <pc:spChg chg="mod">
          <ac:chgData name="Meyer Raphael (PAR-ES)" userId="79615dfe-ed48-4e74-a40f-4f7b034c1c27" providerId="ADAL" clId="{D0BF9686-3B82-4CF7-A6D6-3C19556E6BFB}" dt="2021-04-08T06:27:59.729" v="29" actId="20577"/>
          <ac:spMkLst>
            <pc:docMk/>
            <pc:sldMk cId="1667945532" sldId="306"/>
            <ac:spMk id="28" creationId="{4492A3CD-6943-423D-BFEC-8129889E8B6F}"/>
          </ac:spMkLst>
        </pc:spChg>
        <pc:spChg chg="mod">
          <ac:chgData name="Meyer Raphael (PAR-ES)" userId="79615dfe-ed48-4e74-a40f-4f7b034c1c27" providerId="ADAL" clId="{D0BF9686-3B82-4CF7-A6D6-3C19556E6BFB}" dt="2021-04-08T06:26:20.350" v="13" actId="20577"/>
          <ac:spMkLst>
            <pc:docMk/>
            <pc:sldMk cId="1667945532" sldId="306"/>
            <ac:spMk id="31" creationId="{7491A47D-CAD4-478D-8F3A-296FFCB799F9}"/>
          </ac:spMkLst>
        </pc:spChg>
        <pc:spChg chg="mod">
          <ac:chgData name="Meyer Raphael (PAR-ES)" userId="79615dfe-ed48-4e74-a40f-4f7b034c1c27" providerId="ADAL" clId="{D0BF9686-3B82-4CF7-A6D6-3C19556E6BFB}" dt="2021-04-08T06:30:22.033" v="43" actId="1076"/>
          <ac:spMkLst>
            <pc:docMk/>
            <pc:sldMk cId="1667945532" sldId="306"/>
            <ac:spMk id="32" creationId="{E65DDA4F-7190-4D5B-B875-6818D18C9F6E}"/>
          </ac:spMkLst>
        </pc:spChg>
      </pc:sldChg>
      <pc:sldChg chg="del">
        <pc:chgData name="Meyer Raphael (PAR-ES)" userId="79615dfe-ed48-4e74-a40f-4f7b034c1c27" providerId="ADAL" clId="{D0BF9686-3B82-4CF7-A6D6-3C19556E6BFB}" dt="2021-04-08T06:33:53.839" v="71" actId="47"/>
        <pc:sldMkLst>
          <pc:docMk/>
          <pc:sldMk cId="2400256824" sldId="342"/>
        </pc:sldMkLst>
      </pc:sldChg>
      <pc:sldChg chg="del">
        <pc:chgData name="Meyer Raphael (PAR-ES)" userId="79615dfe-ed48-4e74-a40f-4f7b034c1c27" providerId="ADAL" clId="{D0BF9686-3B82-4CF7-A6D6-3C19556E6BFB}" dt="2021-04-08T06:35:27.798" v="85" actId="47"/>
        <pc:sldMkLst>
          <pc:docMk/>
          <pc:sldMk cId="684558250" sldId="343"/>
        </pc:sldMkLst>
      </pc:sldChg>
      <pc:sldChg chg="addSp delSp modSp add mod ord">
        <pc:chgData name="Meyer Raphael (PAR-ES)" userId="79615dfe-ed48-4e74-a40f-4f7b034c1c27" providerId="ADAL" clId="{D0BF9686-3B82-4CF7-A6D6-3C19556E6BFB}" dt="2021-04-08T06:33:42.425" v="70"/>
        <pc:sldMkLst>
          <pc:docMk/>
          <pc:sldMk cId="2164349284" sldId="344"/>
        </pc:sldMkLst>
        <pc:spChg chg="mod">
          <ac:chgData name="Meyer Raphael (PAR-ES)" userId="79615dfe-ed48-4e74-a40f-4f7b034c1c27" providerId="ADAL" clId="{D0BF9686-3B82-4CF7-A6D6-3C19556E6BFB}" dt="2021-04-08T06:33:36.770" v="69" actId="1076"/>
          <ac:spMkLst>
            <pc:docMk/>
            <pc:sldMk cId="2164349284" sldId="344"/>
            <ac:spMk id="2" creationId="{A2DC317F-F1F4-4624-8FC1-3B68C1DBB3DA}"/>
          </ac:spMkLst>
        </pc:spChg>
        <pc:spChg chg="del">
          <ac:chgData name="Meyer Raphael (PAR-ES)" userId="79615dfe-ed48-4e74-a40f-4f7b034c1c27" providerId="ADAL" clId="{D0BF9686-3B82-4CF7-A6D6-3C19556E6BFB}" dt="2021-04-08T06:32:43.194" v="62" actId="478"/>
          <ac:spMkLst>
            <pc:docMk/>
            <pc:sldMk cId="2164349284" sldId="344"/>
            <ac:spMk id="7" creationId="{BA3F9A72-0541-4D1F-8CD8-1C2B8074FA1B}"/>
          </ac:spMkLst>
        </pc:spChg>
        <pc:spChg chg="mod">
          <ac:chgData name="Meyer Raphael (PAR-ES)" userId="79615dfe-ed48-4e74-a40f-4f7b034c1c27" providerId="ADAL" clId="{D0BF9686-3B82-4CF7-A6D6-3C19556E6BFB}" dt="2021-04-08T06:33:25.297" v="67" actId="14100"/>
          <ac:spMkLst>
            <pc:docMk/>
            <pc:sldMk cId="2164349284" sldId="344"/>
            <ac:spMk id="8" creationId="{5857C2A1-2CB8-4D4A-AEFD-E809BF73D04F}"/>
          </ac:spMkLst>
        </pc:spChg>
        <pc:spChg chg="del">
          <ac:chgData name="Meyer Raphael (PAR-ES)" userId="79615dfe-ed48-4e74-a40f-4f7b034c1c27" providerId="ADAL" clId="{D0BF9686-3B82-4CF7-A6D6-3C19556E6BFB}" dt="2021-04-08T06:32:43.194" v="62" actId="478"/>
          <ac:spMkLst>
            <pc:docMk/>
            <pc:sldMk cId="2164349284" sldId="344"/>
            <ac:spMk id="9" creationId="{B6990B61-32B2-4ADC-BF01-EDF7B4080F97}"/>
          </ac:spMkLst>
        </pc:spChg>
        <pc:spChg chg="mod">
          <ac:chgData name="Meyer Raphael (PAR-ES)" userId="79615dfe-ed48-4e74-a40f-4f7b034c1c27" providerId="ADAL" clId="{D0BF9686-3B82-4CF7-A6D6-3C19556E6BFB}" dt="2021-04-08T06:33:12.881" v="65"/>
          <ac:spMkLst>
            <pc:docMk/>
            <pc:sldMk cId="2164349284" sldId="344"/>
            <ac:spMk id="10" creationId="{077DFD58-E5EE-4B68-9325-D935DB04DD40}"/>
          </ac:spMkLst>
        </pc:spChg>
        <pc:spChg chg="del">
          <ac:chgData name="Meyer Raphael (PAR-ES)" userId="79615dfe-ed48-4e74-a40f-4f7b034c1c27" providerId="ADAL" clId="{D0BF9686-3B82-4CF7-A6D6-3C19556E6BFB}" dt="2021-04-08T06:32:43.194" v="62" actId="478"/>
          <ac:spMkLst>
            <pc:docMk/>
            <pc:sldMk cId="2164349284" sldId="344"/>
            <ac:spMk id="17" creationId="{785E740C-F94A-4208-8DFD-63A603C16577}"/>
          </ac:spMkLst>
        </pc:spChg>
        <pc:spChg chg="add mod">
          <ac:chgData name="Meyer Raphael (PAR-ES)" userId="79615dfe-ed48-4e74-a40f-4f7b034c1c27" providerId="ADAL" clId="{D0BF9686-3B82-4CF7-A6D6-3C19556E6BFB}" dt="2021-04-08T06:32:54.812" v="63"/>
          <ac:spMkLst>
            <pc:docMk/>
            <pc:sldMk cId="2164349284" sldId="344"/>
            <ac:spMk id="21" creationId="{88C35928-E80D-468D-83DD-1D8DE54D7E33}"/>
          </ac:spMkLst>
        </pc:spChg>
        <pc:spChg chg="add mod">
          <ac:chgData name="Meyer Raphael (PAR-ES)" userId="79615dfe-ed48-4e74-a40f-4f7b034c1c27" providerId="ADAL" clId="{D0BF9686-3B82-4CF7-A6D6-3C19556E6BFB}" dt="2021-04-08T06:32:54.812" v="63"/>
          <ac:spMkLst>
            <pc:docMk/>
            <pc:sldMk cId="2164349284" sldId="344"/>
            <ac:spMk id="22" creationId="{20D1AB08-C066-4256-A6EF-DC46ED8896AC}"/>
          </ac:spMkLst>
        </pc:spChg>
        <pc:spChg chg="add mod">
          <ac:chgData name="Meyer Raphael (PAR-ES)" userId="79615dfe-ed48-4e74-a40f-4f7b034c1c27" providerId="ADAL" clId="{D0BF9686-3B82-4CF7-A6D6-3C19556E6BFB}" dt="2021-04-08T06:32:54.812" v="63"/>
          <ac:spMkLst>
            <pc:docMk/>
            <pc:sldMk cId="2164349284" sldId="344"/>
            <ac:spMk id="23" creationId="{FF630629-F355-48F1-8C43-E47359087DC3}"/>
          </ac:spMkLst>
        </pc:spChg>
        <pc:spChg chg="add mod">
          <ac:chgData name="Meyer Raphael (PAR-ES)" userId="79615dfe-ed48-4e74-a40f-4f7b034c1c27" providerId="ADAL" clId="{D0BF9686-3B82-4CF7-A6D6-3C19556E6BFB}" dt="2021-04-08T06:32:54.812" v="63"/>
          <ac:spMkLst>
            <pc:docMk/>
            <pc:sldMk cId="2164349284" sldId="344"/>
            <ac:spMk id="25" creationId="{2F2CD3C6-391B-4F16-9005-961829E2EB10}"/>
          </ac:spMkLst>
        </pc:spChg>
        <pc:spChg chg="del">
          <ac:chgData name="Meyer Raphael (PAR-ES)" userId="79615dfe-ed48-4e74-a40f-4f7b034c1c27" providerId="ADAL" clId="{D0BF9686-3B82-4CF7-A6D6-3C19556E6BFB}" dt="2021-04-08T06:32:43.194" v="62" actId="478"/>
          <ac:spMkLst>
            <pc:docMk/>
            <pc:sldMk cId="2164349284" sldId="344"/>
            <ac:spMk id="26" creationId="{BFD498B5-D73E-4C8A-9FAF-B3547647538C}"/>
          </ac:spMkLst>
        </pc:spChg>
        <pc:spChg chg="mod">
          <ac:chgData name="Meyer Raphael (PAR-ES)" userId="79615dfe-ed48-4e74-a40f-4f7b034c1c27" providerId="ADAL" clId="{D0BF9686-3B82-4CF7-A6D6-3C19556E6BFB}" dt="2021-04-08T06:33:42.425" v="70"/>
          <ac:spMkLst>
            <pc:docMk/>
            <pc:sldMk cId="2164349284" sldId="344"/>
            <ac:spMk id="27" creationId="{46A6B042-39EE-4A58-BBAA-13D52264B660}"/>
          </ac:spMkLst>
        </pc:spChg>
      </pc:sldChg>
      <pc:sldChg chg="addSp delSp modSp add mod ord">
        <pc:chgData name="Meyer Raphael (PAR-ES)" userId="79615dfe-ed48-4e74-a40f-4f7b034c1c27" providerId="ADAL" clId="{D0BF9686-3B82-4CF7-A6D6-3C19556E6BFB}" dt="2021-04-08T06:35:19.954" v="84" actId="14100"/>
        <pc:sldMkLst>
          <pc:docMk/>
          <pc:sldMk cId="2994949244" sldId="345"/>
        </pc:sldMkLst>
        <pc:spChg chg="mod">
          <ac:chgData name="Meyer Raphael (PAR-ES)" userId="79615dfe-ed48-4e74-a40f-4f7b034c1c27" providerId="ADAL" clId="{D0BF9686-3B82-4CF7-A6D6-3C19556E6BFB}" dt="2021-04-08T06:34:47.665" v="79"/>
          <ac:spMkLst>
            <pc:docMk/>
            <pc:sldMk cId="2994949244" sldId="345"/>
            <ac:spMk id="2" creationId="{A2DC317F-F1F4-4624-8FC1-3B68C1DBB3DA}"/>
          </ac:spMkLst>
        </pc:spChg>
        <pc:spChg chg="del">
          <ac:chgData name="Meyer Raphael (PAR-ES)" userId="79615dfe-ed48-4e74-a40f-4f7b034c1c27" providerId="ADAL" clId="{D0BF9686-3B82-4CF7-A6D6-3C19556E6BFB}" dt="2021-04-08T06:34:04.164" v="72" actId="478"/>
          <ac:spMkLst>
            <pc:docMk/>
            <pc:sldMk cId="2994949244" sldId="345"/>
            <ac:spMk id="7" creationId="{BA3F9A72-0541-4D1F-8CD8-1C2B8074FA1B}"/>
          </ac:spMkLst>
        </pc:spChg>
        <pc:spChg chg="mod">
          <ac:chgData name="Meyer Raphael (PAR-ES)" userId="79615dfe-ed48-4e74-a40f-4f7b034c1c27" providerId="ADAL" clId="{D0BF9686-3B82-4CF7-A6D6-3C19556E6BFB}" dt="2021-04-08T06:35:05.165" v="82" actId="14100"/>
          <ac:spMkLst>
            <pc:docMk/>
            <pc:sldMk cId="2994949244" sldId="345"/>
            <ac:spMk id="8" creationId="{5857C2A1-2CB8-4D4A-AEFD-E809BF73D04F}"/>
          </ac:spMkLst>
        </pc:spChg>
        <pc:spChg chg="del">
          <ac:chgData name="Meyer Raphael (PAR-ES)" userId="79615dfe-ed48-4e74-a40f-4f7b034c1c27" providerId="ADAL" clId="{D0BF9686-3B82-4CF7-A6D6-3C19556E6BFB}" dt="2021-04-08T06:34:04.164" v="72" actId="478"/>
          <ac:spMkLst>
            <pc:docMk/>
            <pc:sldMk cId="2994949244" sldId="345"/>
            <ac:spMk id="9" creationId="{B6990B61-32B2-4ADC-BF01-EDF7B4080F97}"/>
          </ac:spMkLst>
        </pc:spChg>
        <pc:spChg chg="mod">
          <ac:chgData name="Meyer Raphael (PAR-ES)" userId="79615dfe-ed48-4e74-a40f-4f7b034c1c27" providerId="ADAL" clId="{D0BF9686-3B82-4CF7-A6D6-3C19556E6BFB}" dt="2021-04-08T06:34:55.721" v="80"/>
          <ac:spMkLst>
            <pc:docMk/>
            <pc:sldMk cId="2994949244" sldId="345"/>
            <ac:spMk id="10" creationId="{077DFD58-E5EE-4B68-9325-D935DB04DD40}"/>
          </ac:spMkLst>
        </pc:spChg>
        <pc:spChg chg="del">
          <ac:chgData name="Meyer Raphael (PAR-ES)" userId="79615dfe-ed48-4e74-a40f-4f7b034c1c27" providerId="ADAL" clId="{D0BF9686-3B82-4CF7-A6D6-3C19556E6BFB}" dt="2021-04-08T06:34:04.164" v="72" actId="478"/>
          <ac:spMkLst>
            <pc:docMk/>
            <pc:sldMk cId="2994949244" sldId="345"/>
            <ac:spMk id="17" creationId="{785E740C-F94A-4208-8DFD-63A603C16577}"/>
          </ac:spMkLst>
        </pc:spChg>
        <pc:spChg chg="add mod">
          <ac:chgData name="Meyer Raphael (PAR-ES)" userId="79615dfe-ed48-4e74-a40f-4f7b034c1c27" providerId="ADAL" clId="{D0BF9686-3B82-4CF7-A6D6-3C19556E6BFB}" dt="2021-04-08T06:34:15.689" v="73"/>
          <ac:spMkLst>
            <pc:docMk/>
            <pc:sldMk cId="2994949244" sldId="345"/>
            <ac:spMk id="21" creationId="{933C6865-8952-4704-8A84-E215B8185F98}"/>
          </ac:spMkLst>
        </pc:spChg>
        <pc:spChg chg="add mod">
          <ac:chgData name="Meyer Raphael (PAR-ES)" userId="79615dfe-ed48-4e74-a40f-4f7b034c1c27" providerId="ADAL" clId="{D0BF9686-3B82-4CF7-A6D6-3C19556E6BFB}" dt="2021-04-08T06:34:15.689" v="73"/>
          <ac:spMkLst>
            <pc:docMk/>
            <pc:sldMk cId="2994949244" sldId="345"/>
            <ac:spMk id="22" creationId="{91FFFA32-4338-4697-9445-C8BE2722956A}"/>
          </ac:spMkLst>
        </pc:spChg>
        <pc:spChg chg="add mod">
          <ac:chgData name="Meyer Raphael (PAR-ES)" userId="79615dfe-ed48-4e74-a40f-4f7b034c1c27" providerId="ADAL" clId="{D0BF9686-3B82-4CF7-A6D6-3C19556E6BFB}" dt="2021-04-08T06:34:15.689" v="73"/>
          <ac:spMkLst>
            <pc:docMk/>
            <pc:sldMk cId="2994949244" sldId="345"/>
            <ac:spMk id="23" creationId="{D27DDA6F-0506-4E86-AAB8-5622BF5A0FDB}"/>
          </ac:spMkLst>
        </pc:spChg>
        <pc:spChg chg="add del mod">
          <ac:chgData name="Meyer Raphael (PAR-ES)" userId="79615dfe-ed48-4e74-a40f-4f7b034c1c27" providerId="ADAL" clId="{D0BF9686-3B82-4CF7-A6D6-3C19556E6BFB}" dt="2021-04-08T06:34:23.611" v="75"/>
          <ac:spMkLst>
            <pc:docMk/>
            <pc:sldMk cId="2994949244" sldId="345"/>
            <ac:spMk id="25" creationId="{573F8765-3DD7-4C1C-A674-A57150AF63CC}"/>
          </ac:spMkLst>
        </pc:spChg>
        <pc:spChg chg="del">
          <ac:chgData name="Meyer Raphael (PAR-ES)" userId="79615dfe-ed48-4e74-a40f-4f7b034c1c27" providerId="ADAL" clId="{D0BF9686-3B82-4CF7-A6D6-3C19556E6BFB}" dt="2021-04-08T06:34:04.164" v="72" actId="478"/>
          <ac:spMkLst>
            <pc:docMk/>
            <pc:sldMk cId="2994949244" sldId="345"/>
            <ac:spMk id="26" creationId="{BFD498B5-D73E-4C8A-9FAF-B3547647538C}"/>
          </ac:spMkLst>
        </pc:spChg>
        <pc:spChg chg="mod">
          <ac:chgData name="Meyer Raphael (PAR-ES)" userId="79615dfe-ed48-4e74-a40f-4f7b034c1c27" providerId="ADAL" clId="{D0BF9686-3B82-4CF7-A6D6-3C19556E6BFB}" dt="2021-04-08T06:35:19.954" v="84" actId="14100"/>
          <ac:spMkLst>
            <pc:docMk/>
            <pc:sldMk cId="2994949244" sldId="345"/>
            <ac:spMk id="27" creationId="{46A6B042-39EE-4A58-BBAA-13D52264B660}"/>
          </ac:spMkLst>
        </pc:spChg>
        <pc:spChg chg="add del mod">
          <ac:chgData name="Meyer Raphael (PAR-ES)" userId="79615dfe-ed48-4e74-a40f-4f7b034c1c27" providerId="ADAL" clId="{D0BF9686-3B82-4CF7-A6D6-3C19556E6BFB}" dt="2021-04-08T06:34:23.611" v="75"/>
          <ac:spMkLst>
            <pc:docMk/>
            <pc:sldMk cId="2994949244" sldId="345"/>
            <ac:spMk id="33" creationId="{EEB991F9-AEBD-4E8A-AE7D-9B7B2074D94C}"/>
          </ac:spMkLst>
        </pc:spChg>
        <pc:spChg chg="add del mod">
          <ac:chgData name="Meyer Raphael (PAR-ES)" userId="79615dfe-ed48-4e74-a40f-4f7b034c1c27" providerId="ADAL" clId="{D0BF9686-3B82-4CF7-A6D6-3C19556E6BFB}" dt="2021-04-08T06:34:23.611" v="75"/>
          <ac:spMkLst>
            <pc:docMk/>
            <pc:sldMk cId="2994949244" sldId="345"/>
            <ac:spMk id="36" creationId="{902858BE-1395-4A7C-A0C3-30D2780C74E6}"/>
          </ac:spMkLst>
        </pc:spChg>
        <pc:spChg chg="add del mod">
          <ac:chgData name="Meyer Raphael (PAR-ES)" userId="79615dfe-ed48-4e74-a40f-4f7b034c1c27" providerId="ADAL" clId="{D0BF9686-3B82-4CF7-A6D6-3C19556E6BFB}" dt="2021-04-08T06:34:30.993" v="77"/>
          <ac:spMkLst>
            <pc:docMk/>
            <pc:sldMk cId="2994949244" sldId="345"/>
            <ac:spMk id="37" creationId="{1B8D3E6D-F901-4539-AC5C-5420A2A19A23}"/>
          </ac:spMkLst>
        </pc:spChg>
        <pc:spChg chg="add del mod">
          <ac:chgData name="Meyer Raphael (PAR-ES)" userId="79615dfe-ed48-4e74-a40f-4f7b034c1c27" providerId="ADAL" clId="{D0BF9686-3B82-4CF7-A6D6-3C19556E6BFB}" dt="2021-04-08T06:34:30.993" v="77"/>
          <ac:spMkLst>
            <pc:docMk/>
            <pc:sldMk cId="2994949244" sldId="345"/>
            <ac:spMk id="38" creationId="{235DB7B3-D364-460F-95D9-A28BA0CD52DD}"/>
          </ac:spMkLst>
        </pc:spChg>
        <pc:spChg chg="add del mod">
          <ac:chgData name="Meyer Raphael (PAR-ES)" userId="79615dfe-ed48-4e74-a40f-4f7b034c1c27" providerId="ADAL" clId="{D0BF9686-3B82-4CF7-A6D6-3C19556E6BFB}" dt="2021-04-08T06:34:30.993" v="77"/>
          <ac:spMkLst>
            <pc:docMk/>
            <pc:sldMk cId="2994949244" sldId="345"/>
            <ac:spMk id="39" creationId="{C92F2BFC-8B5B-44D9-A0F9-156E7461995C}"/>
          </ac:spMkLst>
        </pc:spChg>
        <pc:spChg chg="add mod">
          <ac:chgData name="Meyer Raphael (PAR-ES)" userId="79615dfe-ed48-4e74-a40f-4f7b034c1c27" providerId="ADAL" clId="{D0BF9686-3B82-4CF7-A6D6-3C19556E6BFB}" dt="2021-04-08T06:34:37.548" v="78"/>
          <ac:spMkLst>
            <pc:docMk/>
            <pc:sldMk cId="2994949244" sldId="345"/>
            <ac:spMk id="40" creationId="{662137A3-D0A5-45D7-A3D9-9932A46199E2}"/>
          </ac:spMkLst>
        </pc:spChg>
      </pc:sldChg>
    </pc:docChg>
  </pc:docChgLst>
  <pc:docChgLst>
    <pc:chgData name="Meyer Raphael (PAR-ES)" userId="79615dfe-ed48-4e74-a40f-4f7b034c1c27" providerId="ADAL" clId="{97A640CE-C770-49C4-B5FE-7745D283A7E3}"/>
    <pc:docChg chg="modSld">
      <pc:chgData name="Meyer Raphael (PAR-ES)" userId="79615dfe-ed48-4e74-a40f-4f7b034c1c27" providerId="ADAL" clId="{97A640CE-C770-49C4-B5FE-7745D283A7E3}" dt="2021-10-21T07:38:10.777" v="0" actId="27918"/>
      <pc:docMkLst>
        <pc:docMk/>
      </pc:docMkLst>
      <pc:sldChg chg="mod">
        <pc:chgData name="Meyer Raphael (PAR-ES)" userId="79615dfe-ed48-4e74-a40f-4f7b034c1c27" providerId="ADAL" clId="{97A640CE-C770-49C4-B5FE-7745D283A7E3}" dt="2021-10-21T07:38:10.777" v="0" actId="27918"/>
        <pc:sldMkLst>
          <pc:docMk/>
          <pc:sldMk cId="1199121354" sldId="417"/>
        </pc:sldMkLst>
      </pc:sldChg>
    </pc:docChg>
  </pc:docChgLst>
  <pc:docChgLst>
    <pc:chgData name="Meyer Raphael (PAR-ES)" userId="79615dfe-ed48-4e74-a40f-4f7b034c1c27" providerId="ADAL" clId="{B3134076-241D-49A8-BDE6-7DC2169DB06A}"/>
    <pc:docChg chg="modSld">
      <pc:chgData name="Meyer Raphael (PAR-ES)" userId="79615dfe-ed48-4e74-a40f-4f7b034c1c27" providerId="ADAL" clId="{B3134076-241D-49A8-BDE6-7DC2169DB06A}" dt="2021-11-30T12:10:05.292" v="4" actId="27918"/>
      <pc:docMkLst>
        <pc:docMk/>
      </pc:docMkLst>
      <pc:sldChg chg="mod">
        <pc:chgData name="Meyer Raphael (PAR-ES)" userId="79615dfe-ed48-4e74-a40f-4f7b034c1c27" providerId="ADAL" clId="{B3134076-241D-49A8-BDE6-7DC2169DB06A}" dt="2021-11-30T12:10:05.292" v="4" actId="27918"/>
        <pc:sldMkLst>
          <pc:docMk/>
          <pc:sldMk cId="2641487227" sldId="271"/>
        </pc:sldMkLst>
      </pc:sldChg>
    </pc:docChg>
  </pc:docChgLst>
  <pc:docChgLst>
    <pc:chgData name="Meyer Raphael (PAR-ES)" userId="79615dfe-ed48-4e74-a40f-4f7b034c1c27" providerId="ADAL" clId="{CC037D72-AD94-45AC-86A2-5E4959515F3C}"/>
    <pc:docChg chg="custSel modSld">
      <pc:chgData name="Meyer Raphael (PAR-ES)" userId="79615dfe-ed48-4e74-a40f-4f7b034c1c27" providerId="ADAL" clId="{CC037D72-AD94-45AC-86A2-5E4959515F3C}" dt="2021-11-16T15:17:44.639" v="188"/>
      <pc:docMkLst>
        <pc:docMk/>
      </pc:docMkLst>
      <pc:sldChg chg="addSp delSp modSp mod">
        <pc:chgData name="Meyer Raphael (PAR-ES)" userId="79615dfe-ed48-4e74-a40f-4f7b034c1c27" providerId="ADAL" clId="{CC037D72-AD94-45AC-86A2-5E4959515F3C}" dt="2021-11-16T15:17:44.639" v="188"/>
        <pc:sldMkLst>
          <pc:docMk/>
          <pc:sldMk cId="2641487227" sldId="271"/>
        </pc:sldMkLst>
        <pc:spChg chg="add del mod">
          <ac:chgData name="Meyer Raphael (PAR-ES)" userId="79615dfe-ed48-4e74-a40f-4f7b034c1c27" providerId="ADAL" clId="{CC037D72-AD94-45AC-86A2-5E4959515F3C}" dt="2021-11-16T15:02:17.381" v="128" actId="478"/>
          <ac:spMkLst>
            <pc:docMk/>
            <pc:sldMk cId="2641487227" sldId="271"/>
            <ac:spMk id="3" creationId="{75819DB9-B5A3-47E4-858A-DC0D2C5DA1C7}"/>
          </ac:spMkLst>
        </pc:spChg>
        <pc:spChg chg="mod">
          <ac:chgData name="Meyer Raphael (PAR-ES)" userId="79615dfe-ed48-4e74-a40f-4f7b034c1c27" providerId="ADAL" clId="{CC037D72-AD94-45AC-86A2-5E4959515F3C}" dt="2021-11-16T14:49:37.120" v="90" actId="20577"/>
          <ac:spMkLst>
            <pc:docMk/>
            <pc:sldMk cId="2641487227" sldId="271"/>
            <ac:spMk id="6" creationId="{0148E78D-7FBB-46BC-A7E3-0EFE6D9E4679}"/>
          </ac:spMkLst>
        </pc:spChg>
        <pc:spChg chg="add del mod">
          <ac:chgData name="Meyer Raphael (PAR-ES)" userId="79615dfe-ed48-4e74-a40f-4f7b034c1c27" providerId="ADAL" clId="{CC037D72-AD94-45AC-86A2-5E4959515F3C}" dt="2021-11-16T15:02:14.806" v="127" actId="478"/>
          <ac:spMkLst>
            <pc:docMk/>
            <pc:sldMk cId="2641487227" sldId="271"/>
            <ac:spMk id="8" creationId="{03CE64C9-F04E-48CE-8658-CF9D275647F6}"/>
          </ac:spMkLst>
        </pc:spChg>
        <pc:spChg chg="mod">
          <ac:chgData name="Meyer Raphael (PAR-ES)" userId="79615dfe-ed48-4e74-a40f-4f7b034c1c27" providerId="ADAL" clId="{CC037D72-AD94-45AC-86A2-5E4959515F3C}" dt="2021-11-16T14:53:39.256" v="100" actId="20577"/>
          <ac:spMkLst>
            <pc:docMk/>
            <pc:sldMk cId="2641487227" sldId="271"/>
            <ac:spMk id="10" creationId="{41B9B9AB-4B12-4760-AF37-4FABDDFAE68B}"/>
          </ac:spMkLst>
        </pc:spChg>
        <pc:graphicFrameChg chg="mod">
          <ac:chgData name="Meyer Raphael (PAR-ES)" userId="79615dfe-ed48-4e74-a40f-4f7b034c1c27" providerId="ADAL" clId="{CC037D72-AD94-45AC-86A2-5E4959515F3C}" dt="2021-11-16T15:17:44.639" v="188"/>
          <ac:graphicFrameMkLst>
            <pc:docMk/>
            <pc:sldMk cId="2641487227" sldId="271"/>
            <ac:graphicFrameMk id="9" creationId="{00000000-0000-0000-0000-000000000000}"/>
          </ac:graphicFrameMkLst>
        </pc:graphicFrameChg>
      </pc:sldChg>
    </pc:docChg>
  </pc:docChgLst>
  <pc:docChgLst>
    <pc:chgData name="Meyer Raphael (PAR-ES)" userId="79615dfe-ed48-4e74-a40f-4f7b034c1c27" providerId="ADAL" clId="{FCCE55FE-14A3-4665-9FBE-1E216319A24F}"/>
    <pc:docChg chg="undo custSel addSld delSld modSld sldOrd">
      <pc:chgData name="Meyer Raphael (PAR-ES)" userId="79615dfe-ed48-4e74-a40f-4f7b034c1c27" providerId="ADAL" clId="{FCCE55FE-14A3-4665-9FBE-1E216319A24F}" dt="2021-01-28T09:05:36.669" v="347" actId="2696"/>
      <pc:docMkLst>
        <pc:docMk/>
      </pc:docMkLst>
      <pc:sldChg chg="modSp mod">
        <pc:chgData name="Meyer Raphael (PAR-ES)" userId="79615dfe-ed48-4e74-a40f-4f7b034c1c27" providerId="ADAL" clId="{FCCE55FE-14A3-4665-9FBE-1E216319A24F}" dt="2021-01-28T09:04:46.463" v="342" actId="1035"/>
        <pc:sldMkLst>
          <pc:docMk/>
          <pc:sldMk cId="1667945532" sldId="306"/>
        </pc:sldMkLst>
        <pc:spChg chg="mod">
          <ac:chgData name="Meyer Raphael (PAR-ES)" userId="79615dfe-ed48-4e74-a40f-4f7b034c1c27" providerId="ADAL" clId="{FCCE55FE-14A3-4665-9FBE-1E216319A24F}" dt="2021-01-28T09:04:46.463" v="342" actId="1035"/>
          <ac:spMkLst>
            <pc:docMk/>
            <pc:sldMk cId="1667945532" sldId="306"/>
            <ac:spMk id="8" creationId="{5857C2A1-2CB8-4D4A-AEFD-E809BF73D04F}"/>
          </ac:spMkLst>
        </pc:spChg>
        <pc:spChg chg="mod">
          <ac:chgData name="Meyer Raphael (PAR-ES)" userId="79615dfe-ed48-4e74-a40f-4f7b034c1c27" providerId="ADAL" clId="{FCCE55FE-14A3-4665-9FBE-1E216319A24F}" dt="2021-01-28T08:59:37.577" v="67" actId="20577"/>
          <ac:spMkLst>
            <pc:docMk/>
            <pc:sldMk cId="1667945532" sldId="306"/>
            <ac:spMk id="27" creationId="{46A6B042-39EE-4A58-BBAA-13D52264B660}"/>
          </ac:spMkLst>
        </pc:spChg>
        <pc:spChg chg="mod">
          <ac:chgData name="Meyer Raphael (PAR-ES)" userId="79615dfe-ed48-4e74-a40f-4f7b034c1c27" providerId="ADAL" clId="{FCCE55FE-14A3-4665-9FBE-1E216319A24F}" dt="2021-01-28T08:57:58.640" v="60" actId="1076"/>
          <ac:spMkLst>
            <pc:docMk/>
            <pc:sldMk cId="1667945532" sldId="306"/>
            <ac:spMk id="28" creationId="{4492A3CD-6943-423D-BFEC-8129889E8B6F}"/>
          </ac:spMkLst>
        </pc:spChg>
        <pc:spChg chg="mod">
          <ac:chgData name="Meyer Raphael (PAR-ES)" userId="79615dfe-ed48-4e74-a40f-4f7b034c1c27" providerId="ADAL" clId="{FCCE55FE-14A3-4665-9FBE-1E216319A24F}" dt="2021-01-28T08:53:47.872" v="25" actId="20577"/>
          <ac:spMkLst>
            <pc:docMk/>
            <pc:sldMk cId="1667945532" sldId="306"/>
            <ac:spMk id="31" creationId="{7491A47D-CAD4-478D-8F3A-296FFCB799F9}"/>
          </ac:spMkLst>
        </pc:spChg>
        <pc:spChg chg="mod">
          <ac:chgData name="Meyer Raphael (PAR-ES)" userId="79615dfe-ed48-4e74-a40f-4f7b034c1c27" providerId="ADAL" clId="{FCCE55FE-14A3-4665-9FBE-1E216319A24F}" dt="2021-01-28T08:55:56.366" v="41" actId="1076"/>
          <ac:spMkLst>
            <pc:docMk/>
            <pc:sldMk cId="1667945532" sldId="306"/>
            <ac:spMk id="32" creationId="{E65DDA4F-7190-4D5B-B875-6818D18C9F6E}"/>
          </ac:spMkLst>
        </pc:spChg>
        <pc:cxnChg chg="mod">
          <ac:chgData name="Meyer Raphael (PAR-ES)" userId="79615dfe-ed48-4e74-a40f-4f7b034c1c27" providerId="ADAL" clId="{FCCE55FE-14A3-4665-9FBE-1E216319A24F}" dt="2021-01-28T09:04:46.463" v="342" actId="1035"/>
          <ac:cxnSpMkLst>
            <pc:docMk/>
            <pc:sldMk cId="1667945532" sldId="306"/>
            <ac:cxnSpMk id="20" creationId="{07FCC63F-5E2F-43DF-84ED-5FFEC92A0042}"/>
          </ac:cxnSpMkLst>
        </pc:cxnChg>
        <pc:cxnChg chg="mod">
          <ac:chgData name="Meyer Raphael (PAR-ES)" userId="79615dfe-ed48-4e74-a40f-4f7b034c1c27" providerId="ADAL" clId="{FCCE55FE-14A3-4665-9FBE-1E216319A24F}" dt="2021-01-28T08:59:05.981" v="65" actId="1038"/>
          <ac:cxnSpMkLst>
            <pc:docMk/>
            <pc:sldMk cId="1667945532" sldId="306"/>
            <ac:cxnSpMk id="29" creationId="{FD3E902F-283F-48FC-9504-FF2FF4EA4BF0}"/>
          </ac:cxnSpMkLst>
        </pc:cxnChg>
        <pc:cxnChg chg="mod">
          <ac:chgData name="Meyer Raphael (PAR-ES)" userId="79615dfe-ed48-4e74-a40f-4f7b034c1c27" providerId="ADAL" clId="{FCCE55FE-14A3-4665-9FBE-1E216319A24F}" dt="2021-01-28T08:58:16.300" v="62" actId="1038"/>
          <ac:cxnSpMkLst>
            <pc:docMk/>
            <pc:sldMk cId="1667945532" sldId="306"/>
            <ac:cxnSpMk id="30" creationId="{1D702FCA-793F-404B-84D5-F14C318BFFB3}"/>
          </ac:cxnSpMkLst>
        </pc:cxnChg>
      </pc:sldChg>
      <pc:sldChg chg="add del">
        <pc:chgData name="Meyer Raphael (PAR-ES)" userId="79615dfe-ed48-4e74-a40f-4f7b034c1c27" providerId="ADAL" clId="{FCCE55FE-14A3-4665-9FBE-1E216319A24F}" dt="2021-01-28T09:05:36.669" v="347" actId="2696"/>
        <pc:sldMkLst>
          <pc:docMk/>
          <pc:sldMk cId="1323358563" sldId="321"/>
        </pc:sldMkLst>
      </pc:sldChg>
      <pc:sldChg chg="del">
        <pc:chgData name="Meyer Raphael (PAR-ES)" userId="79615dfe-ed48-4e74-a40f-4f7b034c1c27" providerId="ADAL" clId="{FCCE55FE-14A3-4665-9FBE-1E216319A24F}" dt="2021-01-28T09:02:20.071" v="157" actId="2696"/>
        <pc:sldMkLst>
          <pc:docMk/>
          <pc:sldMk cId="3034369345" sldId="322"/>
        </pc:sldMkLst>
      </pc:sldChg>
      <pc:sldChg chg="addSp delSp modSp add ord">
        <pc:chgData name="Meyer Raphael (PAR-ES)" userId="79615dfe-ed48-4e74-a40f-4f7b034c1c27" providerId="ADAL" clId="{FCCE55FE-14A3-4665-9FBE-1E216319A24F}" dt="2021-01-28T09:01:47.358" v="156" actId="1035"/>
        <pc:sldMkLst>
          <pc:docMk/>
          <pc:sldMk cId="3848357479" sldId="323"/>
        </pc:sldMkLst>
        <pc:spChg chg="mod">
          <ac:chgData name="Meyer Raphael (PAR-ES)" userId="79615dfe-ed48-4e74-a40f-4f7b034c1c27" providerId="ADAL" clId="{FCCE55FE-14A3-4665-9FBE-1E216319A24F}" dt="2021-01-28T09:00:44.070" v="74"/>
          <ac:spMkLst>
            <pc:docMk/>
            <pc:sldMk cId="3848357479" sldId="323"/>
            <ac:spMk id="2" creationId="{A2DC317F-F1F4-4624-8FC1-3B68C1DBB3DA}"/>
          </ac:spMkLst>
        </pc:spChg>
        <pc:spChg chg="del">
          <ac:chgData name="Meyer Raphael (PAR-ES)" userId="79615dfe-ed48-4e74-a40f-4f7b034c1c27" providerId="ADAL" clId="{FCCE55FE-14A3-4665-9FBE-1E216319A24F}" dt="2021-01-28T09:00:09.691" v="72" actId="478"/>
          <ac:spMkLst>
            <pc:docMk/>
            <pc:sldMk cId="3848357479" sldId="323"/>
            <ac:spMk id="7" creationId="{BA3F9A72-0541-4D1F-8CD8-1C2B8074FA1B}"/>
          </ac:spMkLst>
        </pc:spChg>
        <pc:spChg chg="mod">
          <ac:chgData name="Meyer Raphael (PAR-ES)" userId="79615dfe-ed48-4e74-a40f-4f7b034c1c27" providerId="ADAL" clId="{FCCE55FE-14A3-4665-9FBE-1E216319A24F}" dt="2021-01-28T09:01:47.358" v="156" actId="1035"/>
          <ac:spMkLst>
            <pc:docMk/>
            <pc:sldMk cId="3848357479" sldId="323"/>
            <ac:spMk id="8" creationId="{5857C2A1-2CB8-4D4A-AEFD-E809BF73D04F}"/>
          </ac:spMkLst>
        </pc:spChg>
        <pc:spChg chg="del">
          <ac:chgData name="Meyer Raphael (PAR-ES)" userId="79615dfe-ed48-4e74-a40f-4f7b034c1c27" providerId="ADAL" clId="{FCCE55FE-14A3-4665-9FBE-1E216319A24F}" dt="2021-01-28T09:00:09.691" v="72" actId="478"/>
          <ac:spMkLst>
            <pc:docMk/>
            <pc:sldMk cId="3848357479" sldId="323"/>
            <ac:spMk id="9" creationId="{B6990B61-32B2-4ADC-BF01-EDF7B4080F97}"/>
          </ac:spMkLst>
        </pc:spChg>
        <pc:spChg chg="mod">
          <ac:chgData name="Meyer Raphael (PAR-ES)" userId="79615dfe-ed48-4e74-a40f-4f7b034c1c27" providerId="ADAL" clId="{FCCE55FE-14A3-4665-9FBE-1E216319A24F}" dt="2021-01-28T09:00:54.584" v="75"/>
          <ac:spMkLst>
            <pc:docMk/>
            <pc:sldMk cId="3848357479" sldId="323"/>
            <ac:spMk id="10" creationId="{077DFD58-E5EE-4B68-9325-D935DB04DD40}"/>
          </ac:spMkLst>
        </pc:spChg>
        <pc:spChg chg="del">
          <ac:chgData name="Meyer Raphael (PAR-ES)" userId="79615dfe-ed48-4e74-a40f-4f7b034c1c27" providerId="ADAL" clId="{FCCE55FE-14A3-4665-9FBE-1E216319A24F}" dt="2021-01-28T09:00:09.691" v="72" actId="478"/>
          <ac:spMkLst>
            <pc:docMk/>
            <pc:sldMk cId="3848357479" sldId="323"/>
            <ac:spMk id="17" creationId="{785E740C-F94A-4208-8DFD-63A603C16577}"/>
          </ac:spMkLst>
        </pc:spChg>
        <pc:spChg chg="del">
          <ac:chgData name="Meyer Raphael (PAR-ES)" userId="79615dfe-ed48-4e74-a40f-4f7b034c1c27" providerId="ADAL" clId="{FCCE55FE-14A3-4665-9FBE-1E216319A24F}" dt="2021-01-28T09:00:09.691" v="72" actId="478"/>
          <ac:spMkLst>
            <pc:docMk/>
            <pc:sldMk cId="3848357479" sldId="323"/>
            <ac:spMk id="26" creationId="{BFD498B5-D73E-4C8A-9FAF-B3547647538C}"/>
          </ac:spMkLst>
        </pc:spChg>
        <pc:spChg chg="mod">
          <ac:chgData name="Meyer Raphael (PAR-ES)" userId="79615dfe-ed48-4e74-a40f-4f7b034c1c27" providerId="ADAL" clId="{FCCE55FE-14A3-4665-9FBE-1E216319A24F}" dt="2021-01-28T09:01:08.027" v="76"/>
          <ac:spMkLst>
            <pc:docMk/>
            <pc:sldMk cId="3848357479" sldId="323"/>
            <ac:spMk id="27" creationId="{46A6B042-39EE-4A58-BBAA-13D52264B660}"/>
          </ac:spMkLst>
        </pc:spChg>
        <pc:spChg chg="add">
          <ac:chgData name="Meyer Raphael (PAR-ES)" userId="79615dfe-ed48-4e74-a40f-4f7b034c1c27" providerId="ADAL" clId="{FCCE55FE-14A3-4665-9FBE-1E216319A24F}" dt="2021-01-28T09:00:26.701" v="73"/>
          <ac:spMkLst>
            <pc:docMk/>
            <pc:sldMk cId="3848357479" sldId="323"/>
            <ac:spMk id="36" creationId="{BFF15B23-AB44-47AB-8052-431C3C4CD8A7}"/>
          </ac:spMkLst>
        </pc:spChg>
        <pc:spChg chg="add">
          <ac:chgData name="Meyer Raphael (PAR-ES)" userId="79615dfe-ed48-4e74-a40f-4f7b034c1c27" providerId="ADAL" clId="{FCCE55FE-14A3-4665-9FBE-1E216319A24F}" dt="2021-01-28T09:00:26.701" v="73"/>
          <ac:spMkLst>
            <pc:docMk/>
            <pc:sldMk cId="3848357479" sldId="323"/>
            <ac:spMk id="38" creationId="{9266321F-423D-4DBA-8E57-4CE551E1E4A5}"/>
          </ac:spMkLst>
        </pc:spChg>
        <pc:spChg chg="add">
          <ac:chgData name="Meyer Raphael (PAR-ES)" userId="79615dfe-ed48-4e74-a40f-4f7b034c1c27" providerId="ADAL" clId="{FCCE55FE-14A3-4665-9FBE-1E216319A24F}" dt="2021-01-28T09:00:26.701" v="73"/>
          <ac:spMkLst>
            <pc:docMk/>
            <pc:sldMk cId="3848357479" sldId="323"/>
            <ac:spMk id="39" creationId="{A51C9C0C-B247-4AC7-99DE-530912CCA3B7}"/>
          </ac:spMkLst>
        </pc:spChg>
        <pc:spChg chg="add">
          <ac:chgData name="Meyer Raphael (PAR-ES)" userId="79615dfe-ed48-4e74-a40f-4f7b034c1c27" providerId="ADAL" clId="{FCCE55FE-14A3-4665-9FBE-1E216319A24F}" dt="2021-01-28T09:00:26.701" v="73"/>
          <ac:spMkLst>
            <pc:docMk/>
            <pc:sldMk cId="3848357479" sldId="323"/>
            <ac:spMk id="40" creationId="{EE48FF54-999A-42C7-BCBB-33CBB7272268}"/>
          </ac:spMkLst>
        </pc:spChg>
        <pc:cxnChg chg="mod">
          <ac:chgData name="Meyer Raphael (PAR-ES)" userId="79615dfe-ed48-4e74-a40f-4f7b034c1c27" providerId="ADAL" clId="{FCCE55FE-14A3-4665-9FBE-1E216319A24F}" dt="2021-01-28T09:01:47.358" v="156" actId="1035"/>
          <ac:cxnSpMkLst>
            <pc:docMk/>
            <pc:sldMk cId="3848357479" sldId="323"/>
            <ac:cxnSpMk id="20" creationId="{07FCC63F-5E2F-43DF-84ED-5FFEC92A0042}"/>
          </ac:cxnSpMkLst>
        </pc:cxnChg>
      </pc:sldChg>
      <pc:sldChg chg="addSp delSp modSp add ord">
        <pc:chgData name="Meyer Raphael (PAR-ES)" userId="79615dfe-ed48-4e74-a40f-4f7b034c1c27" providerId="ADAL" clId="{FCCE55FE-14A3-4665-9FBE-1E216319A24F}" dt="2021-01-28T09:05:33.171" v="346"/>
        <pc:sldMkLst>
          <pc:docMk/>
          <pc:sldMk cId="2334667298" sldId="324"/>
        </pc:sldMkLst>
        <pc:spChg chg="del">
          <ac:chgData name="Meyer Raphael (PAR-ES)" userId="79615dfe-ed48-4e74-a40f-4f7b034c1c27" providerId="ADAL" clId="{FCCE55FE-14A3-4665-9FBE-1E216319A24F}" dt="2021-01-28T09:02:37.941" v="158" actId="478"/>
          <ac:spMkLst>
            <pc:docMk/>
            <pc:sldMk cId="2334667298" sldId="324"/>
            <ac:spMk id="2" creationId="{A2DC317F-F1F4-4624-8FC1-3B68C1DBB3DA}"/>
          </ac:spMkLst>
        </pc:spChg>
        <pc:spChg chg="add del mod">
          <ac:chgData name="Meyer Raphael (PAR-ES)" userId="79615dfe-ed48-4e74-a40f-4f7b034c1c27" providerId="ADAL" clId="{FCCE55FE-14A3-4665-9FBE-1E216319A24F}" dt="2021-01-28T09:03:14.803" v="162" actId="478"/>
          <ac:spMkLst>
            <pc:docMk/>
            <pc:sldMk cId="2334667298" sldId="324"/>
            <ac:spMk id="6" creationId="{6B391366-7911-4AAE-BBA8-ABC5F881FB27}"/>
          </ac:spMkLst>
        </pc:spChg>
        <pc:spChg chg="del">
          <ac:chgData name="Meyer Raphael (PAR-ES)" userId="79615dfe-ed48-4e74-a40f-4f7b034c1c27" providerId="ADAL" clId="{FCCE55FE-14A3-4665-9FBE-1E216319A24F}" dt="2021-01-28T09:02:37.941" v="158" actId="478"/>
          <ac:spMkLst>
            <pc:docMk/>
            <pc:sldMk cId="2334667298" sldId="324"/>
            <ac:spMk id="7" creationId="{BA3F9A72-0541-4D1F-8CD8-1C2B8074FA1B}"/>
          </ac:spMkLst>
        </pc:spChg>
        <pc:spChg chg="mod">
          <ac:chgData name="Meyer Raphael (PAR-ES)" userId="79615dfe-ed48-4e74-a40f-4f7b034c1c27" providerId="ADAL" clId="{FCCE55FE-14A3-4665-9FBE-1E216319A24F}" dt="2021-01-28T09:03:40.767" v="260" actId="1036"/>
          <ac:spMkLst>
            <pc:docMk/>
            <pc:sldMk cId="2334667298" sldId="324"/>
            <ac:spMk id="8" creationId="{5857C2A1-2CB8-4D4A-AEFD-E809BF73D04F}"/>
          </ac:spMkLst>
        </pc:spChg>
        <pc:spChg chg="del">
          <ac:chgData name="Meyer Raphael (PAR-ES)" userId="79615dfe-ed48-4e74-a40f-4f7b034c1c27" providerId="ADAL" clId="{FCCE55FE-14A3-4665-9FBE-1E216319A24F}" dt="2021-01-28T09:02:37.941" v="158" actId="478"/>
          <ac:spMkLst>
            <pc:docMk/>
            <pc:sldMk cId="2334667298" sldId="324"/>
            <ac:spMk id="9" creationId="{B6990B61-32B2-4ADC-BF01-EDF7B4080F97}"/>
          </ac:spMkLst>
        </pc:spChg>
        <pc:spChg chg="del">
          <ac:chgData name="Meyer Raphael (PAR-ES)" userId="79615dfe-ed48-4e74-a40f-4f7b034c1c27" providerId="ADAL" clId="{FCCE55FE-14A3-4665-9FBE-1E216319A24F}" dt="2021-01-28T09:02:37.941" v="158" actId="478"/>
          <ac:spMkLst>
            <pc:docMk/>
            <pc:sldMk cId="2334667298" sldId="324"/>
            <ac:spMk id="10" creationId="{077DFD58-E5EE-4B68-9325-D935DB04DD40}"/>
          </ac:spMkLst>
        </pc:spChg>
        <pc:spChg chg="del">
          <ac:chgData name="Meyer Raphael (PAR-ES)" userId="79615dfe-ed48-4e74-a40f-4f7b034c1c27" providerId="ADAL" clId="{FCCE55FE-14A3-4665-9FBE-1E216319A24F}" dt="2021-01-28T09:02:37.941" v="158" actId="478"/>
          <ac:spMkLst>
            <pc:docMk/>
            <pc:sldMk cId="2334667298" sldId="324"/>
            <ac:spMk id="17" creationId="{785E740C-F94A-4208-8DFD-63A603C16577}"/>
          </ac:spMkLst>
        </pc:spChg>
        <pc:spChg chg="del">
          <ac:chgData name="Meyer Raphael (PAR-ES)" userId="79615dfe-ed48-4e74-a40f-4f7b034c1c27" providerId="ADAL" clId="{FCCE55FE-14A3-4665-9FBE-1E216319A24F}" dt="2021-01-28T09:02:37.941" v="158" actId="478"/>
          <ac:spMkLst>
            <pc:docMk/>
            <pc:sldMk cId="2334667298" sldId="324"/>
            <ac:spMk id="26" creationId="{BFD498B5-D73E-4C8A-9FAF-B3547647538C}"/>
          </ac:spMkLst>
        </pc:spChg>
        <pc:spChg chg="mod">
          <ac:chgData name="Meyer Raphael (PAR-ES)" userId="79615dfe-ed48-4e74-a40f-4f7b034c1c27" providerId="ADAL" clId="{FCCE55FE-14A3-4665-9FBE-1E216319A24F}" dt="2021-01-28T09:04:05.953" v="262" actId="14100"/>
          <ac:spMkLst>
            <pc:docMk/>
            <pc:sldMk cId="2334667298" sldId="324"/>
            <ac:spMk id="27" creationId="{46A6B042-39EE-4A58-BBAA-13D52264B660}"/>
          </ac:spMkLst>
        </pc:spChg>
        <pc:spChg chg="del">
          <ac:chgData name="Meyer Raphael (PAR-ES)" userId="79615dfe-ed48-4e74-a40f-4f7b034c1c27" providerId="ADAL" clId="{FCCE55FE-14A3-4665-9FBE-1E216319A24F}" dt="2021-01-28T09:05:24.971" v="345" actId="478"/>
          <ac:spMkLst>
            <pc:docMk/>
            <pc:sldMk cId="2334667298" sldId="324"/>
            <ac:spMk id="33" creationId="{1263211D-7647-4ACE-B729-2338DF0FFB67}"/>
          </ac:spMkLst>
        </pc:spChg>
        <pc:spChg chg="add mod">
          <ac:chgData name="Meyer Raphael (PAR-ES)" userId="79615dfe-ed48-4e74-a40f-4f7b034c1c27" providerId="ADAL" clId="{FCCE55FE-14A3-4665-9FBE-1E216319A24F}" dt="2021-01-28T09:03:05.472" v="161" actId="1076"/>
          <ac:spMkLst>
            <pc:docMk/>
            <pc:sldMk cId="2334667298" sldId="324"/>
            <ac:spMk id="36" creationId="{950DB72D-9690-4F18-9D02-139206AB86C6}"/>
          </ac:spMkLst>
        </pc:spChg>
        <pc:spChg chg="del">
          <ac:chgData name="Meyer Raphael (PAR-ES)" userId="79615dfe-ed48-4e74-a40f-4f7b034c1c27" providerId="ADAL" clId="{FCCE55FE-14A3-4665-9FBE-1E216319A24F}" dt="2021-01-28T09:05:24.971" v="345" actId="478"/>
          <ac:spMkLst>
            <pc:docMk/>
            <pc:sldMk cId="2334667298" sldId="324"/>
            <ac:spMk id="37" creationId="{16628D91-C37D-41C8-A84A-DDEB3E2C1246}"/>
          </ac:spMkLst>
        </pc:spChg>
        <pc:spChg chg="add">
          <ac:chgData name="Meyer Raphael (PAR-ES)" userId="79615dfe-ed48-4e74-a40f-4f7b034c1c27" providerId="ADAL" clId="{FCCE55FE-14A3-4665-9FBE-1E216319A24F}" dt="2021-01-28T09:02:54.724" v="159"/>
          <ac:spMkLst>
            <pc:docMk/>
            <pc:sldMk cId="2334667298" sldId="324"/>
            <ac:spMk id="38" creationId="{35F43C1E-6492-479A-A9E7-DF1579655FFF}"/>
          </ac:spMkLst>
        </pc:spChg>
        <pc:spChg chg="add">
          <ac:chgData name="Meyer Raphael (PAR-ES)" userId="79615dfe-ed48-4e74-a40f-4f7b034c1c27" providerId="ADAL" clId="{FCCE55FE-14A3-4665-9FBE-1E216319A24F}" dt="2021-01-28T09:02:54.724" v="159"/>
          <ac:spMkLst>
            <pc:docMk/>
            <pc:sldMk cId="2334667298" sldId="324"/>
            <ac:spMk id="39" creationId="{9978E878-0C04-4574-A52F-5CCE14AEBD59}"/>
          </ac:spMkLst>
        </pc:spChg>
        <pc:spChg chg="add">
          <ac:chgData name="Meyer Raphael (PAR-ES)" userId="79615dfe-ed48-4e74-a40f-4f7b034c1c27" providerId="ADAL" clId="{FCCE55FE-14A3-4665-9FBE-1E216319A24F}" dt="2021-01-28T09:02:54.724" v="159"/>
          <ac:spMkLst>
            <pc:docMk/>
            <pc:sldMk cId="2334667298" sldId="324"/>
            <ac:spMk id="40" creationId="{8EEF5790-079B-40AF-B68B-2A4EFADE916A}"/>
          </ac:spMkLst>
        </pc:spChg>
        <pc:spChg chg="add">
          <ac:chgData name="Meyer Raphael (PAR-ES)" userId="79615dfe-ed48-4e74-a40f-4f7b034c1c27" providerId="ADAL" clId="{FCCE55FE-14A3-4665-9FBE-1E216319A24F}" dt="2021-01-28T09:02:54.724" v="159"/>
          <ac:spMkLst>
            <pc:docMk/>
            <pc:sldMk cId="2334667298" sldId="324"/>
            <ac:spMk id="41" creationId="{A42EC389-4898-4B1D-9014-2539AD5F743A}"/>
          </ac:spMkLst>
        </pc:spChg>
        <pc:spChg chg="add">
          <ac:chgData name="Meyer Raphael (PAR-ES)" userId="79615dfe-ed48-4e74-a40f-4f7b034c1c27" providerId="ADAL" clId="{FCCE55FE-14A3-4665-9FBE-1E216319A24F}" dt="2021-01-28T09:02:54.724" v="159"/>
          <ac:spMkLst>
            <pc:docMk/>
            <pc:sldMk cId="2334667298" sldId="324"/>
            <ac:spMk id="42" creationId="{FFBE3577-E016-4C76-B39F-F955282882DB}"/>
          </ac:spMkLst>
        </pc:spChg>
        <pc:spChg chg="add">
          <ac:chgData name="Meyer Raphael (PAR-ES)" userId="79615dfe-ed48-4e74-a40f-4f7b034c1c27" providerId="ADAL" clId="{FCCE55FE-14A3-4665-9FBE-1E216319A24F}" dt="2021-01-28T09:05:33.171" v="346"/>
          <ac:spMkLst>
            <pc:docMk/>
            <pc:sldMk cId="2334667298" sldId="324"/>
            <ac:spMk id="43" creationId="{BAFC0A69-8B7C-4265-A3B1-7A731AF525E9}"/>
          </ac:spMkLst>
        </pc:spChg>
        <pc:spChg chg="add">
          <ac:chgData name="Meyer Raphael (PAR-ES)" userId="79615dfe-ed48-4e74-a40f-4f7b034c1c27" providerId="ADAL" clId="{FCCE55FE-14A3-4665-9FBE-1E216319A24F}" dt="2021-01-28T09:05:33.171" v="346"/>
          <ac:spMkLst>
            <pc:docMk/>
            <pc:sldMk cId="2334667298" sldId="324"/>
            <ac:spMk id="44" creationId="{973ED86E-5911-4952-AD22-BE24588B6438}"/>
          </ac:spMkLst>
        </pc:spChg>
        <pc:cxnChg chg="mod">
          <ac:chgData name="Meyer Raphael (PAR-ES)" userId="79615dfe-ed48-4e74-a40f-4f7b034c1c27" providerId="ADAL" clId="{FCCE55FE-14A3-4665-9FBE-1E216319A24F}" dt="2021-01-28T09:03:40.767" v="260" actId="1036"/>
          <ac:cxnSpMkLst>
            <pc:docMk/>
            <pc:sldMk cId="2334667298" sldId="324"/>
            <ac:cxnSpMk id="20" creationId="{07FCC63F-5E2F-43DF-84ED-5FFEC92A0042}"/>
          </ac:cxnSpMkLst>
        </pc:cxnChg>
      </pc:sldChg>
    </pc:docChg>
  </pc:docChgLst>
  <pc:docChgLst>
    <pc:chgData name="Meyer Raphael (PAR-ES)" userId="79615dfe-ed48-4e74-a40f-4f7b034c1c27" providerId="ADAL" clId="{8E3065C6-688C-4D24-91D1-E651705B75CE}"/>
    <pc:docChg chg="custSel addSld delSld modSld sldOrd">
      <pc:chgData name="Meyer Raphael (PAR-ES)" userId="79615dfe-ed48-4e74-a40f-4f7b034c1c27" providerId="ADAL" clId="{8E3065C6-688C-4D24-91D1-E651705B75CE}" dt="2021-03-18T08:06:31.939" v="95" actId="2696"/>
      <pc:docMkLst>
        <pc:docMk/>
      </pc:docMkLst>
      <pc:sldChg chg="modSp mod">
        <pc:chgData name="Meyer Raphael (PAR-ES)" userId="79615dfe-ed48-4e74-a40f-4f7b034c1c27" providerId="ADAL" clId="{8E3065C6-688C-4D24-91D1-E651705B75CE}" dt="2021-03-18T07:57:28.778" v="70" actId="1076"/>
        <pc:sldMkLst>
          <pc:docMk/>
          <pc:sldMk cId="1667945532" sldId="306"/>
        </pc:sldMkLst>
        <pc:spChg chg="mod">
          <ac:chgData name="Meyer Raphael (PAR-ES)" userId="79615dfe-ed48-4e74-a40f-4f7b034c1c27" providerId="ADAL" clId="{8E3065C6-688C-4D24-91D1-E651705B75CE}" dt="2021-03-18T07:51:20.087" v="2" actId="20577"/>
          <ac:spMkLst>
            <pc:docMk/>
            <pc:sldMk cId="1667945532" sldId="306"/>
            <ac:spMk id="8" creationId="{5857C2A1-2CB8-4D4A-AEFD-E809BF73D04F}"/>
          </ac:spMkLst>
        </pc:spChg>
        <pc:spChg chg="mod">
          <ac:chgData name="Meyer Raphael (PAR-ES)" userId="79615dfe-ed48-4e74-a40f-4f7b034c1c27" providerId="ADAL" clId="{8E3065C6-688C-4D24-91D1-E651705B75CE}" dt="2021-03-18T07:51:50.182" v="19" actId="20577"/>
          <ac:spMkLst>
            <pc:docMk/>
            <pc:sldMk cId="1667945532" sldId="306"/>
            <ac:spMk id="27" creationId="{46A6B042-39EE-4A58-BBAA-13D52264B660}"/>
          </ac:spMkLst>
        </pc:spChg>
        <pc:spChg chg="mod">
          <ac:chgData name="Meyer Raphael (PAR-ES)" userId="79615dfe-ed48-4e74-a40f-4f7b034c1c27" providerId="ADAL" clId="{8E3065C6-688C-4D24-91D1-E651705B75CE}" dt="2021-03-18T07:57:28.778" v="70" actId="1076"/>
          <ac:spMkLst>
            <pc:docMk/>
            <pc:sldMk cId="1667945532" sldId="306"/>
            <ac:spMk id="28" creationId="{4492A3CD-6943-423D-BFEC-8129889E8B6F}"/>
          </ac:spMkLst>
        </pc:spChg>
        <pc:spChg chg="mod">
          <ac:chgData name="Meyer Raphael (PAR-ES)" userId="79615dfe-ed48-4e74-a40f-4f7b034c1c27" providerId="ADAL" clId="{8E3065C6-688C-4D24-91D1-E651705B75CE}" dt="2021-03-18T07:52:08.936" v="27" actId="20577"/>
          <ac:spMkLst>
            <pc:docMk/>
            <pc:sldMk cId="1667945532" sldId="306"/>
            <ac:spMk id="31" creationId="{7491A47D-CAD4-478D-8F3A-296FFCB799F9}"/>
          </ac:spMkLst>
        </pc:spChg>
        <pc:spChg chg="mod">
          <ac:chgData name="Meyer Raphael (PAR-ES)" userId="79615dfe-ed48-4e74-a40f-4f7b034c1c27" providerId="ADAL" clId="{8E3065C6-688C-4D24-91D1-E651705B75CE}" dt="2021-03-18T07:54:36.827" v="47" actId="1076"/>
          <ac:spMkLst>
            <pc:docMk/>
            <pc:sldMk cId="1667945532" sldId="306"/>
            <ac:spMk id="32" creationId="{E65DDA4F-7190-4D5B-B875-6818D18C9F6E}"/>
          </ac:spMkLst>
        </pc:spChg>
        <pc:graphicFrameChg chg="mod">
          <ac:chgData name="Meyer Raphael (PAR-ES)" userId="79615dfe-ed48-4e74-a40f-4f7b034c1c27" providerId="ADAL" clId="{8E3065C6-688C-4D24-91D1-E651705B75CE}" dt="2021-03-18T07:54:30.843" v="46"/>
          <ac:graphicFrameMkLst>
            <pc:docMk/>
            <pc:sldMk cId="1667945532" sldId="306"/>
            <ac:graphicFrameMk id="5" creationId="{4CF6AB8B-CAB9-4C7E-8E59-E00357A4D7F0}"/>
          </ac:graphicFrameMkLst>
        </pc:graphicFrameChg>
        <pc:cxnChg chg="mod">
          <ac:chgData name="Meyer Raphael (PAR-ES)" userId="79615dfe-ed48-4e74-a40f-4f7b034c1c27" providerId="ADAL" clId="{8E3065C6-688C-4D24-91D1-E651705B75CE}" dt="2021-03-18T07:54:41.307" v="48" actId="1038"/>
          <ac:cxnSpMkLst>
            <pc:docMk/>
            <pc:sldMk cId="1667945532" sldId="306"/>
            <ac:cxnSpMk id="29" creationId="{FD3E902F-283F-48FC-9504-FF2FF4EA4BF0}"/>
          </ac:cxnSpMkLst>
        </pc:cxnChg>
        <pc:cxnChg chg="mod">
          <ac:chgData name="Meyer Raphael (PAR-ES)" userId="79615dfe-ed48-4e74-a40f-4f7b034c1c27" providerId="ADAL" clId="{8E3065C6-688C-4D24-91D1-E651705B75CE}" dt="2021-03-18T07:57:07.614" v="67" actId="14100"/>
          <ac:cxnSpMkLst>
            <pc:docMk/>
            <pc:sldMk cId="1667945532" sldId="306"/>
            <ac:cxnSpMk id="30" creationId="{1D702FCA-793F-404B-84D5-F14C318BFFB3}"/>
          </ac:cxnSpMkLst>
        </pc:cxnChg>
      </pc:sldChg>
      <pc:sldChg chg="del">
        <pc:chgData name="Meyer Raphael (PAR-ES)" userId="79615dfe-ed48-4e74-a40f-4f7b034c1c27" providerId="ADAL" clId="{8E3065C6-688C-4D24-91D1-E651705B75CE}" dt="2021-03-18T08:04:43.037" v="82" actId="2696"/>
        <pc:sldMkLst>
          <pc:docMk/>
          <pc:sldMk cId="3843819818" sldId="336"/>
        </pc:sldMkLst>
      </pc:sldChg>
      <pc:sldChg chg="del">
        <pc:chgData name="Meyer Raphael (PAR-ES)" userId="79615dfe-ed48-4e74-a40f-4f7b034c1c27" providerId="ADAL" clId="{8E3065C6-688C-4D24-91D1-E651705B75CE}" dt="2021-03-18T08:06:31.939" v="95" actId="2696"/>
        <pc:sldMkLst>
          <pc:docMk/>
          <pc:sldMk cId="912098357" sldId="337"/>
        </pc:sldMkLst>
      </pc:sldChg>
      <pc:sldChg chg="addSp delSp modSp add ord">
        <pc:chgData name="Meyer Raphael (PAR-ES)" userId="79615dfe-ed48-4e74-a40f-4f7b034c1c27" providerId="ADAL" clId="{8E3065C6-688C-4D24-91D1-E651705B75CE}" dt="2021-03-18T08:04:20.982" v="81"/>
        <pc:sldMkLst>
          <pc:docMk/>
          <pc:sldMk cId="1452322066" sldId="338"/>
        </pc:sldMkLst>
        <pc:spChg chg="mod">
          <ac:chgData name="Meyer Raphael (PAR-ES)" userId="79615dfe-ed48-4e74-a40f-4f7b034c1c27" providerId="ADAL" clId="{8E3065C6-688C-4D24-91D1-E651705B75CE}" dt="2021-03-18T08:03:52.400" v="77"/>
          <ac:spMkLst>
            <pc:docMk/>
            <pc:sldMk cId="1452322066" sldId="338"/>
            <ac:spMk id="2" creationId="{A2DC317F-F1F4-4624-8FC1-3B68C1DBB3DA}"/>
          </ac:spMkLst>
        </pc:spChg>
        <pc:spChg chg="del">
          <ac:chgData name="Meyer Raphael (PAR-ES)" userId="79615dfe-ed48-4e74-a40f-4f7b034c1c27" providerId="ADAL" clId="{8E3065C6-688C-4D24-91D1-E651705B75CE}" dt="2021-03-18T08:03:27.666" v="75" actId="478"/>
          <ac:spMkLst>
            <pc:docMk/>
            <pc:sldMk cId="1452322066" sldId="338"/>
            <ac:spMk id="7" creationId="{BA3F9A72-0541-4D1F-8CD8-1C2B8074FA1B}"/>
          </ac:spMkLst>
        </pc:spChg>
        <pc:spChg chg="mod">
          <ac:chgData name="Meyer Raphael (PAR-ES)" userId="79615dfe-ed48-4e74-a40f-4f7b034c1c27" providerId="ADAL" clId="{8E3065C6-688C-4D24-91D1-E651705B75CE}" dt="2021-03-18T08:04:08.236" v="80" actId="14100"/>
          <ac:spMkLst>
            <pc:docMk/>
            <pc:sldMk cId="1452322066" sldId="338"/>
            <ac:spMk id="8" creationId="{5857C2A1-2CB8-4D4A-AEFD-E809BF73D04F}"/>
          </ac:spMkLst>
        </pc:spChg>
        <pc:spChg chg="del">
          <ac:chgData name="Meyer Raphael (PAR-ES)" userId="79615dfe-ed48-4e74-a40f-4f7b034c1c27" providerId="ADAL" clId="{8E3065C6-688C-4D24-91D1-E651705B75CE}" dt="2021-03-18T08:03:27.666" v="75" actId="478"/>
          <ac:spMkLst>
            <pc:docMk/>
            <pc:sldMk cId="1452322066" sldId="338"/>
            <ac:spMk id="9" creationId="{B6990B61-32B2-4ADC-BF01-EDF7B4080F97}"/>
          </ac:spMkLst>
        </pc:spChg>
        <pc:spChg chg="mod">
          <ac:chgData name="Meyer Raphael (PAR-ES)" userId="79615dfe-ed48-4e74-a40f-4f7b034c1c27" providerId="ADAL" clId="{8E3065C6-688C-4D24-91D1-E651705B75CE}" dt="2021-03-18T08:04:00.224" v="78"/>
          <ac:spMkLst>
            <pc:docMk/>
            <pc:sldMk cId="1452322066" sldId="338"/>
            <ac:spMk id="10" creationId="{077DFD58-E5EE-4B68-9325-D935DB04DD40}"/>
          </ac:spMkLst>
        </pc:spChg>
        <pc:spChg chg="del">
          <ac:chgData name="Meyer Raphael (PAR-ES)" userId="79615dfe-ed48-4e74-a40f-4f7b034c1c27" providerId="ADAL" clId="{8E3065C6-688C-4D24-91D1-E651705B75CE}" dt="2021-03-18T08:03:27.666" v="75" actId="478"/>
          <ac:spMkLst>
            <pc:docMk/>
            <pc:sldMk cId="1452322066" sldId="338"/>
            <ac:spMk id="17" creationId="{785E740C-F94A-4208-8DFD-63A603C16577}"/>
          </ac:spMkLst>
        </pc:spChg>
        <pc:spChg chg="add">
          <ac:chgData name="Meyer Raphael (PAR-ES)" userId="79615dfe-ed48-4e74-a40f-4f7b034c1c27" providerId="ADAL" clId="{8E3065C6-688C-4D24-91D1-E651705B75CE}" dt="2021-03-18T08:03:39.063" v="76"/>
          <ac:spMkLst>
            <pc:docMk/>
            <pc:sldMk cId="1452322066" sldId="338"/>
            <ac:spMk id="23" creationId="{FB04E3DC-7438-4463-B235-8E2A0AF38BE6}"/>
          </ac:spMkLst>
        </pc:spChg>
        <pc:spChg chg="del">
          <ac:chgData name="Meyer Raphael (PAR-ES)" userId="79615dfe-ed48-4e74-a40f-4f7b034c1c27" providerId="ADAL" clId="{8E3065C6-688C-4D24-91D1-E651705B75CE}" dt="2021-03-18T08:03:27.666" v="75" actId="478"/>
          <ac:spMkLst>
            <pc:docMk/>
            <pc:sldMk cId="1452322066" sldId="338"/>
            <ac:spMk id="26" creationId="{BFD498B5-D73E-4C8A-9FAF-B3547647538C}"/>
          </ac:spMkLst>
        </pc:spChg>
        <pc:spChg chg="mod">
          <ac:chgData name="Meyer Raphael (PAR-ES)" userId="79615dfe-ed48-4e74-a40f-4f7b034c1c27" providerId="ADAL" clId="{8E3065C6-688C-4D24-91D1-E651705B75CE}" dt="2021-03-18T08:04:20.982" v="81"/>
          <ac:spMkLst>
            <pc:docMk/>
            <pc:sldMk cId="1452322066" sldId="338"/>
            <ac:spMk id="27" creationId="{46A6B042-39EE-4A58-BBAA-13D52264B660}"/>
          </ac:spMkLst>
        </pc:spChg>
        <pc:spChg chg="add">
          <ac:chgData name="Meyer Raphael (PAR-ES)" userId="79615dfe-ed48-4e74-a40f-4f7b034c1c27" providerId="ADAL" clId="{8E3065C6-688C-4D24-91D1-E651705B75CE}" dt="2021-03-18T08:03:39.063" v="76"/>
          <ac:spMkLst>
            <pc:docMk/>
            <pc:sldMk cId="1452322066" sldId="338"/>
            <ac:spMk id="33" creationId="{4FB5518D-9657-460B-9C93-BA69794FB1D8}"/>
          </ac:spMkLst>
        </pc:spChg>
        <pc:spChg chg="add">
          <ac:chgData name="Meyer Raphael (PAR-ES)" userId="79615dfe-ed48-4e74-a40f-4f7b034c1c27" providerId="ADAL" clId="{8E3065C6-688C-4D24-91D1-E651705B75CE}" dt="2021-03-18T08:03:39.063" v="76"/>
          <ac:spMkLst>
            <pc:docMk/>
            <pc:sldMk cId="1452322066" sldId="338"/>
            <ac:spMk id="36" creationId="{4E7A10F7-ADD0-4192-BDEE-2910EBDC9EC7}"/>
          </ac:spMkLst>
        </pc:spChg>
        <pc:spChg chg="add">
          <ac:chgData name="Meyer Raphael (PAR-ES)" userId="79615dfe-ed48-4e74-a40f-4f7b034c1c27" providerId="ADAL" clId="{8E3065C6-688C-4D24-91D1-E651705B75CE}" dt="2021-03-18T08:03:39.063" v="76"/>
          <ac:spMkLst>
            <pc:docMk/>
            <pc:sldMk cId="1452322066" sldId="338"/>
            <ac:spMk id="37" creationId="{DCF5F9E4-69A8-4972-8D55-015B468ACB00}"/>
          </ac:spMkLst>
        </pc:spChg>
      </pc:sldChg>
      <pc:sldChg chg="addSp delSp modSp add ord">
        <pc:chgData name="Meyer Raphael (PAR-ES)" userId="79615dfe-ed48-4e74-a40f-4f7b034c1c27" providerId="ADAL" clId="{8E3065C6-688C-4D24-91D1-E651705B75CE}" dt="2021-03-18T08:06:22.212" v="94" actId="14100"/>
        <pc:sldMkLst>
          <pc:docMk/>
          <pc:sldMk cId="4038211066" sldId="339"/>
        </pc:sldMkLst>
        <pc:spChg chg="mod">
          <ac:chgData name="Meyer Raphael (PAR-ES)" userId="79615dfe-ed48-4e74-a40f-4f7b034c1c27" providerId="ADAL" clId="{8E3065C6-688C-4D24-91D1-E651705B75CE}" dt="2021-03-18T08:05:57.263" v="91"/>
          <ac:spMkLst>
            <pc:docMk/>
            <pc:sldMk cId="4038211066" sldId="339"/>
            <ac:spMk id="2" creationId="{A2DC317F-F1F4-4624-8FC1-3B68C1DBB3DA}"/>
          </ac:spMkLst>
        </pc:spChg>
        <pc:spChg chg="del">
          <ac:chgData name="Meyer Raphael (PAR-ES)" userId="79615dfe-ed48-4e74-a40f-4f7b034c1c27" providerId="ADAL" clId="{8E3065C6-688C-4D24-91D1-E651705B75CE}" dt="2021-03-18T08:05:09.058" v="83" actId="478"/>
          <ac:spMkLst>
            <pc:docMk/>
            <pc:sldMk cId="4038211066" sldId="339"/>
            <ac:spMk id="7" creationId="{BA3F9A72-0541-4D1F-8CD8-1C2B8074FA1B}"/>
          </ac:spMkLst>
        </pc:spChg>
        <pc:spChg chg="mod">
          <ac:chgData name="Meyer Raphael (PAR-ES)" userId="79615dfe-ed48-4e74-a40f-4f7b034c1c27" providerId="ADAL" clId="{8E3065C6-688C-4D24-91D1-E651705B75CE}" dt="2021-03-18T08:05:50.241" v="90" actId="1037"/>
          <ac:spMkLst>
            <pc:docMk/>
            <pc:sldMk cId="4038211066" sldId="339"/>
            <ac:spMk id="8" creationId="{5857C2A1-2CB8-4D4A-AEFD-E809BF73D04F}"/>
          </ac:spMkLst>
        </pc:spChg>
        <pc:spChg chg="del">
          <ac:chgData name="Meyer Raphael (PAR-ES)" userId="79615dfe-ed48-4e74-a40f-4f7b034c1c27" providerId="ADAL" clId="{8E3065C6-688C-4D24-91D1-E651705B75CE}" dt="2021-03-18T08:05:09.058" v="83" actId="478"/>
          <ac:spMkLst>
            <pc:docMk/>
            <pc:sldMk cId="4038211066" sldId="339"/>
            <ac:spMk id="9" creationId="{B6990B61-32B2-4ADC-BF01-EDF7B4080F97}"/>
          </ac:spMkLst>
        </pc:spChg>
        <pc:spChg chg="mod">
          <ac:chgData name="Meyer Raphael (PAR-ES)" userId="79615dfe-ed48-4e74-a40f-4f7b034c1c27" providerId="ADAL" clId="{8E3065C6-688C-4D24-91D1-E651705B75CE}" dt="2021-03-18T08:06:07.535" v="92"/>
          <ac:spMkLst>
            <pc:docMk/>
            <pc:sldMk cId="4038211066" sldId="339"/>
            <ac:spMk id="10" creationId="{077DFD58-E5EE-4B68-9325-D935DB04DD40}"/>
          </ac:spMkLst>
        </pc:spChg>
        <pc:spChg chg="del">
          <ac:chgData name="Meyer Raphael (PAR-ES)" userId="79615dfe-ed48-4e74-a40f-4f7b034c1c27" providerId="ADAL" clId="{8E3065C6-688C-4D24-91D1-E651705B75CE}" dt="2021-03-18T08:05:09.058" v="83" actId="478"/>
          <ac:spMkLst>
            <pc:docMk/>
            <pc:sldMk cId="4038211066" sldId="339"/>
            <ac:spMk id="17" creationId="{785E740C-F94A-4208-8DFD-63A603C16577}"/>
          </ac:spMkLst>
        </pc:spChg>
        <pc:spChg chg="add">
          <ac:chgData name="Meyer Raphael (PAR-ES)" userId="79615dfe-ed48-4e74-a40f-4f7b034c1c27" providerId="ADAL" clId="{8E3065C6-688C-4D24-91D1-E651705B75CE}" dt="2021-03-18T08:05:23.657" v="84"/>
          <ac:spMkLst>
            <pc:docMk/>
            <pc:sldMk cId="4038211066" sldId="339"/>
            <ac:spMk id="23" creationId="{F2F2A770-A200-47CC-92E3-0BA2AFF11A97}"/>
          </ac:spMkLst>
        </pc:spChg>
        <pc:spChg chg="del">
          <ac:chgData name="Meyer Raphael (PAR-ES)" userId="79615dfe-ed48-4e74-a40f-4f7b034c1c27" providerId="ADAL" clId="{8E3065C6-688C-4D24-91D1-E651705B75CE}" dt="2021-03-18T08:05:09.058" v="83" actId="478"/>
          <ac:spMkLst>
            <pc:docMk/>
            <pc:sldMk cId="4038211066" sldId="339"/>
            <ac:spMk id="26" creationId="{BFD498B5-D73E-4C8A-9FAF-B3547647538C}"/>
          </ac:spMkLst>
        </pc:spChg>
        <pc:spChg chg="mod">
          <ac:chgData name="Meyer Raphael (PAR-ES)" userId="79615dfe-ed48-4e74-a40f-4f7b034c1c27" providerId="ADAL" clId="{8E3065C6-688C-4D24-91D1-E651705B75CE}" dt="2021-03-18T08:06:22.212" v="94" actId="14100"/>
          <ac:spMkLst>
            <pc:docMk/>
            <pc:sldMk cId="4038211066" sldId="339"/>
            <ac:spMk id="27" creationId="{46A6B042-39EE-4A58-BBAA-13D52264B660}"/>
          </ac:spMkLst>
        </pc:spChg>
        <pc:spChg chg="add">
          <ac:chgData name="Meyer Raphael (PAR-ES)" userId="79615dfe-ed48-4e74-a40f-4f7b034c1c27" providerId="ADAL" clId="{8E3065C6-688C-4D24-91D1-E651705B75CE}" dt="2021-03-18T08:05:23.657" v="84"/>
          <ac:spMkLst>
            <pc:docMk/>
            <pc:sldMk cId="4038211066" sldId="339"/>
            <ac:spMk id="33" creationId="{9D5DBEF2-2A64-4C44-9C60-54A042D75AC5}"/>
          </ac:spMkLst>
        </pc:spChg>
        <pc:spChg chg="add">
          <ac:chgData name="Meyer Raphael (PAR-ES)" userId="79615dfe-ed48-4e74-a40f-4f7b034c1c27" providerId="ADAL" clId="{8E3065C6-688C-4D24-91D1-E651705B75CE}" dt="2021-03-18T08:05:23.657" v="84"/>
          <ac:spMkLst>
            <pc:docMk/>
            <pc:sldMk cId="4038211066" sldId="339"/>
            <ac:spMk id="36" creationId="{723E6BD9-9972-4E81-A4AE-CE14DD212830}"/>
          </ac:spMkLst>
        </pc:spChg>
        <pc:spChg chg="add">
          <ac:chgData name="Meyer Raphael (PAR-ES)" userId="79615dfe-ed48-4e74-a40f-4f7b034c1c27" providerId="ADAL" clId="{8E3065C6-688C-4D24-91D1-E651705B75CE}" dt="2021-03-18T08:05:23.657" v="84"/>
          <ac:spMkLst>
            <pc:docMk/>
            <pc:sldMk cId="4038211066" sldId="339"/>
            <ac:spMk id="37" creationId="{EC58DB2B-ADD7-4EA0-A871-C40C1066CACB}"/>
          </ac:spMkLst>
        </pc:spChg>
        <pc:spChg chg="add del">
          <ac:chgData name="Meyer Raphael (PAR-ES)" userId="79615dfe-ed48-4e74-a40f-4f7b034c1c27" providerId="ADAL" clId="{8E3065C6-688C-4D24-91D1-E651705B75CE}" dt="2021-03-18T08:05:35.513" v="86"/>
          <ac:spMkLst>
            <pc:docMk/>
            <pc:sldMk cId="4038211066" sldId="339"/>
            <ac:spMk id="38" creationId="{37C7CA09-8CF2-487D-832C-0DFEC74B6039}"/>
          </ac:spMkLst>
        </pc:spChg>
        <pc:spChg chg="add del">
          <ac:chgData name="Meyer Raphael (PAR-ES)" userId="79615dfe-ed48-4e74-a40f-4f7b034c1c27" providerId="ADAL" clId="{8E3065C6-688C-4D24-91D1-E651705B75CE}" dt="2021-03-18T08:05:35.513" v="86"/>
          <ac:spMkLst>
            <pc:docMk/>
            <pc:sldMk cId="4038211066" sldId="339"/>
            <ac:spMk id="39" creationId="{43E8029D-D8B8-4F0A-82B5-B8FECDEEC35A}"/>
          </ac:spMkLst>
        </pc:spChg>
        <pc:spChg chg="add del">
          <ac:chgData name="Meyer Raphael (PAR-ES)" userId="79615dfe-ed48-4e74-a40f-4f7b034c1c27" providerId="ADAL" clId="{8E3065C6-688C-4D24-91D1-E651705B75CE}" dt="2021-03-18T08:05:35.513" v="86"/>
          <ac:spMkLst>
            <pc:docMk/>
            <pc:sldMk cId="4038211066" sldId="339"/>
            <ac:spMk id="40" creationId="{1555079F-8643-4274-9A97-9C5135FFEDDB}"/>
          </ac:spMkLst>
        </pc:spChg>
        <pc:spChg chg="add del">
          <ac:chgData name="Meyer Raphael (PAR-ES)" userId="79615dfe-ed48-4e74-a40f-4f7b034c1c27" providerId="ADAL" clId="{8E3065C6-688C-4D24-91D1-E651705B75CE}" dt="2021-03-18T08:05:35.513" v="86"/>
          <ac:spMkLst>
            <pc:docMk/>
            <pc:sldMk cId="4038211066" sldId="339"/>
            <ac:spMk id="41" creationId="{55920D09-756C-4CA5-8D5E-0BF180A5704A}"/>
          </ac:spMkLst>
        </pc:spChg>
      </pc:sldChg>
    </pc:docChg>
  </pc:docChgLst>
  <pc:docChgLst>
    <pc:chgData name="Meyer Raphael (PAR-ES)" userId="79615dfe-ed48-4e74-a40f-4f7b034c1c27" providerId="ADAL" clId="{6CDCDDB2-0951-42F4-B0FE-8E3F9123A7D6}"/>
    <pc:docChg chg="modSld">
      <pc:chgData name="Meyer Raphael (PAR-ES)" userId="79615dfe-ed48-4e74-a40f-4f7b034c1c27" providerId="ADAL" clId="{6CDCDDB2-0951-42F4-B0FE-8E3F9123A7D6}" dt="2021-09-17T07:29:35.011" v="94" actId="1038"/>
      <pc:docMkLst>
        <pc:docMk/>
      </pc:docMkLst>
      <pc:sldChg chg="modSp mod">
        <pc:chgData name="Meyer Raphael (PAR-ES)" userId="79615dfe-ed48-4e74-a40f-4f7b034c1c27" providerId="ADAL" clId="{6CDCDDB2-0951-42F4-B0FE-8E3F9123A7D6}" dt="2021-09-17T07:29:05.678" v="70" actId="1037"/>
        <pc:sldMkLst>
          <pc:docMk/>
          <pc:sldMk cId="1495152177" sldId="298"/>
        </pc:sldMkLst>
        <pc:spChg chg="mod">
          <ac:chgData name="Meyer Raphael (PAR-ES)" userId="79615dfe-ed48-4e74-a40f-4f7b034c1c27" providerId="ADAL" clId="{6CDCDDB2-0951-42F4-B0FE-8E3F9123A7D6}" dt="2021-09-17T07:29:05.678" v="70" actId="1037"/>
          <ac:spMkLst>
            <pc:docMk/>
            <pc:sldMk cId="1495152177" sldId="298"/>
            <ac:spMk id="12" creationId="{970D2C07-63A2-4265-B006-56F685FE80A5}"/>
          </ac:spMkLst>
        </pc:spChg>
        <pc:spChg chg="mod">
          <ac:chgData name="Meyer Raphael (PAR-ES)" userId="79615dfe-ed48-4e74-a40f-4f7b034c1c27" providerId="ADAL" clId="{6CDCDDB2-0951-42F4-B0FE-8E3F9123A7D6}" dt="2021-09-17T07:29:05.678" v="70" actId="1037"/>
          <ac:spMkLst>
            <pc:docMk/>
            <pc:sldMk cId="1495152177" sldId="298"/>
            <ac:spMk id="13" creationId="{93412675-62AA-41D8-997C-4E877ED953A8}"/>
          </ac:spMkLst>
        </pc:spChg>
        <pc:graphicFrameChg chg="modGraphic">
          <ac:chgData name="Meyer Raphael (PAR-ES)" userId="79615dfe-ed48-4e74-a40f-4f7b034c1c27" providerId="ADAL" clId="{6CDCDDB2-0951-42F4-B0FE-8E3F9123A7D6}" dt="2021-09-17T07:17:54.326"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6CDCDDB2-0951-42F4-B0FE-8E3F9123A7D6}" dt="2021-09-17T07:29:05.678" v="70" actId="1037"/>
          <ac:cxnSpMkLst>
            <pc:docMk/>
            <pc:sldMk cId="1495152177" sldId="298"/>
            <ac:cxnSpMk id="8" creationId="{6F3EB9D3-E612-42D9-859B-1905BD876C26}"/>
          </ac:cxnSpMkLst>
        </pc:cxnChg>
      </pc:sldChg>
      <pc:sldChg chg="modSp mod">
        <pc:chgData name="Meyer Raphael (PAR-ES)" userId="79615dfe-ed48-4e74-a40f-4f7b034c1c27" providerId="ADAL" clId="{6CDCDDB2-0951-42F4-B0FE-8E3F9123A7D6}" dt="2021-09-17T07:29:13.037" v="79" actId="1037"/>
        <pc:sldMkLst>
          <pc:docMk/>
          <pc:sldMk cId="3590012689" sldId="365"/>
        </pc:sldMkLst>
        <pc:spChg chg="mod">
          <ac:chgData name="Meyer Raphael (PAR-ES)" userId="79615dfe-ed48-4e74-a40f-4f7b034c1c27" providerId="ADAL" clId="{6CDCDDB2-0951-42F4-B0FE-8E3F9123A7D6}" dt="2021-09-17T07:29:13.037" v="79" actId="1037"/>
          <ac:spMkLst>
            <pc:docMk/>
            <pc:sldMk cId="3590012689" sldId="365"/>
            <ac:spMk id="12" creationId="{970D2C07-63A2-4265-B006-56F685FE80A5}"/>
          </ac:spMkLst>
        </pc:spChg>
        <pc:spChg chg="mod">
          <ac:chgData name="Meyer Raphael (PAR-ES)" userId="79615dfe-ed48-4e74-a40f-4f7b034c1c27" providerId="ADAL" clId="{6CDCDDB2-0951-42F4-B0FE-8E3F9123A7D6}" dt="2021-09-17T07:29:13.037" v="79" actId="1037"/>
          <ac:spMkLst>
            <pc:docMk/>
            <pc:sldMk cId="3590012689" sldId="365"/>
            <ac:spMk id="13" creationId="{93412675-62AA-41D8-997C-4E877ED953A8}"/>
          </ac:spMkLst>
        </pc:spChg>
        <pc:graphicFrameChg chg="mod modGraphic">
          <ac:chgData name="Meyer Raphael (PAR-ES)" userId="79615dfe-ed48-4e74-a40f-4f7b034c1c27" providerId="ADAL" clId="{6CDCDDB2-0951-42F4-B0FE-8E3F9123A7D6}" dt="2021-09-17T07:18:10.185" v="20"/>
          <ac:graphicFrameMkLst>
            <pc:docMk/>
            <pc:sldMk cId="3590012689" sldId="365"/>
            <ac:graphicFrameMk id="9" creationId="{E1369C63-C4A7-403B-A03F-B004599F910A}"/>
          </ac:graphicFrameMkLst>
        </pc:graphicFrameChg>
        <pc:cxnChg chg="mod">
          <ac:chgData name="Meyer Raphael (PAR-ES)" userId="79615dfe-ed48-4e74-a40f-4f7b034c1c27" providerId="ADAL" clId="{6CDCDDB2-0951-42F4-B0FE-8E3F9123A7D6}" dt="2021-09-17T07:29:13.037" v="79" actId="1037"/>
          <ac:cxnSpMkLst>
            <pc:docMk/>
            <pc:sldMk cId="3590012689" sldId="365"/>
            <ac:cxnSpMk id="8" creationId="{6F3EB9D3-E612-42D9-859B-1905BD876C26}"/>
          </ac:cxnSpMkLst>
        </pc:cxnChg>
      </pc:sldChg>
      <pc:sldChg chg="modSp mod">
        <pc:chgData name="Meyer Raphael (PAR-ES)" userId="79615dfe-ed48-4e74-a40f-4f7b034c1c27" providerId="ADAL" clId="{6CDCDDB2-0951-42F4-B0FE-8E3F9123A7D6}" dt="2021-09-17T07:29:35.011" v="94" actId="1038"/>
        <pc:sldMkLst>
          <pc:docMk/>
          <pc:sldMk cId="689864941" sldId="366"/>
        </pc:sldMkLst>
        <pc:spChg chg="mod">
          <ac:chgData name="Meyer Raphael (PAR-ES)" userId="79615dfe-ed48-4e74-a40f-4f7b034c1c27" providerId="ADAL" clId="{6CDCDDB2-0951-42F4-B0FE-8E3F9123A7D6}" dt="2021-09-17T07:29:35.011" v="94" actId="1038"/>
          <ac:spMkLst>
            <pc:docMk/>
            <pc:sldMk cId="689864941" sldId="366"/>
            <ac:spMk id="12" creationId="{970D2C07-63A2-4265-B006-56F685FE80A5}"/>
          </ac:spMkLst>
        </pc:spChg>
        <pc:spChg chg="mod">
          <ac:chgData name="Meyer Raphael (PAR-ES)" userId="79615dfe-ed48-4e74-a40f-4f7b034c1c27" providerId="ADAL" clId="{6CDCDDB2-0951-42F4-B0FE-8E3F9123A7D6}" dt="2021-09-17T07:29:35.011" v="94" actId="1038"/>
          <ac:spMkLst>
            <pc:docMk/>
            <pc:sldMk cId="689864941" sldId="366"/>
            <ac:spMk id="13" creationId="{93412675-62AA-41D8-997C-4E877ED953A8}"/>
          </ac:spMkLst>
        </pc:spChg>
        <pc:graphicFrameChg chg="mod modGraphic">
          <ac:chgData name="Meyer Raphael (PAR-ES)" userId="79615dfe-ed48-4e74-a40f-4f7b034c1c27" providerId="ADAL" clId="{6CDCDDB2-0951-42F4-B0FE-8E3F9123A7D6}" dt="2021-09-17T07:18:17.860" v="21"/>
          <ac:graphicFrameMkLst>
            <pc:docMk/>
            <pc:sldMk cId="689864941" sldId="366"/>
            <ac:graphicFrameMk id="9" creationId="{E1369C63-C4A7-403B-A03F-B004599F910A}"/>
          </ac:graphicFrameMkLst>
        </pc:graphicFrameChg>
        <pc:cxnChg chg="mod">
          <ac:chgData name="Meyer Raphael (PAR-ES)" userId="79615dfe-ed48-4e74-a40f-4f7b034c1c27" providerId="ADAL" clId="{6CDCDDB2-0951-42F4-B0FE-8E3F9123A7D6}" dt="2021-09-17T07:29:35.011" v="94" actId="1038"/>
          <ac:cxnSpMkLst>
            <pc:docMk/>
            <pc:sldMk cId="689864941" sldId="366"/>
            <ac:cxnSpMk id="8" creationId="{6F3EB9D3-E612-42D9-859B-1905BD876C26}"/>
          </ac:cxnSpMkLst>
        </pc:cxnChg>
      </pc:sldChg>
    </pc:docChg>
  </pc:docChgLst>
  <pc:docChgLst>
    <pc:chgData name="Meyer Raphael (PAR-ES)" userId="79615dfe-ed48-4e74-a40f-4f7b034c1c27" providerId="ADAL" clId="{5611DD64-5737-4F54-88D1-692C9E97FDFD}"/>
    <pc:docChg chg="modSld">
      <pc:chgData name="Meyer Raphael (PAR-ES)" userId="79615dfe-ed48-4e74-a40f-4f7b034c1c27" providerId="ADAL" clId="{5611DD64-5737-4F54-88D1-692C9E97FDFD}" dt="2021-10-18T14:39:40.002" v="27" actId="207"/>
      <pc:docMkLst>
        <pc:docMk/>
      </pc:docMkLst>
      <pc:sldChg chg="modSp mod">
        <pc:chgData name="Meyer Raphael (PAR-ES)" userId="79615dfe-ed48-4e74-a40f-4f7b034c1c27" providerId="ADAL" clId="{5611DD64-5737-4F54-88D1-692C9E97FDFD}" dt="2021-10-18T14:39:40.002" v="27" actId="207"/>
        <pc:sldMkLst>
          <pc:docMk/>
          <pc:sldMk cId="1537997412" sldId="373"/>
        </pc:sldMkLst>
        <pc:spChg chg="mod">
          <ac:chgData name="Meyer Raphael (PAR-ES)" userId="79615dfe-ed48-4e74-a40f-4f7b034c1c27" providerId="ADAL" clId="{5611DD64-5737-4F54-88D1-692C9E97FDFD}" dt="2021-10-18T14:37:38.954" v="10" actId="20577"/>
          <ac:spMkLst>
            <pc:docMk/>
            <pc:sldMk cId="1537997412" sldId="373"/>
            <ac:spMk id="6" creationId="{8C570F95-0775-4F12-8DDA-DD52CE7241CC}"/>
          </ac:spMkLst>
        </pc:spChg>
        <pc:spChg chg="mod">
          <ac:chgData name="Meyer Raphael (PAR-ES)" userId="79615dfe-ed48-4e74-a40f-4f7b034c1c27" providerId="ADAL" clId="{5611DD64-5737-4F54-88D1-692C9E97FDFD}" dt="2021-10-18T14:37:49.704" v="14" actId="20577"/>
          <ac:spMkLst>
            <pc:docMk/>
            <pc:sldMk cId="1537997412" sldId="373"/>
            <ac:spMk id="22" creationId="{B3F5B9B8-EDA8-430F-83AA-59E4DAA4DCA3}"/>
          </ac:spMkLst>
        </pc:spChg>
        <pc:graphicFrameChg chg="mod">
          <ac:chgData name="Meyer Raphael (PAR-ES)" userId="79615dfe-ed48-4e74-a40f-4f7b034c1c27" providerId="ADAL" clId="{5611DD64-5737-4F54-88D1-692C9E97FDFD}" dt="2021-10-18T14:39:40.002" v="27"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4F3D56FD-03CF-408F-8B13-4C92A26822DE}"/>
    <pc:docChg chg="modSld">
      <pc:chgData name="Meyer Raphael (PAR-ES)" userId="79615dfe-ed48-4e74-a40f-4f7b034c1c27" providerId="ADAL" clId="{4F3D56FD-03CF-408F-8B13-4C92A26822DE}" dt="2021-08-27T09:01:32.964" v="100" actId="1038"/>
      <pc:docMkLst>
        <pc:docMk/>
      </pc:docMkLst>
      <pc:sldChg chg="modSp mod">
        <pc:chgData name="Meyer Raphael (PAR-ES)" userId="79615dfe-ed48-4e74-a40f-4f7b034c1c27" providerId="ADAL" clId="{4F3D56FD-03CF-408F-8B13-4C92A26822DE}" dt="2021-08-27T09:01:12.486" v="82" actId="1037"/>
        <pc:sldMkLst>
          <pc:docMk/>
          <pc:sldMk cId="1495152177" sldId="298"/>
        </pc:sldMkLst>
        <pc:spChg chg="mod">
          <ac:chgData name="Meyer Raphael (PAR-ES)" userId="79615dfe-ed48-4e74-a40f-4f7b034c1c27" providerId="ADAL" clId="{4F3D56FD-03CF-408F-8B13-4C92A26822DE}" dt="2021-08-27T09:01:12.486" v="82" actId="1037"/>
          <ac:spMkLst>
            <pc:docMk/>
            <pc:sldMk cId="1495152177" sldId="298"/>
            <ac:spMk id="12" creationId="{970D2C07-63A2-4265-B006-56F685FE80A5}"/>
          </ac:spMkLst>
        </pc:spChg>
        <pc:spChg chg="mod">
          <ac:chgData name="Meyer Raphael (PAR-ES)" userId="79615dfe-ed48-4e74-a40f-4f7b034c1c27" providerId="ADAL" clId="{4F3D56FD-03CF-408F-8B13-4C92A26822DE}" dt="2021-08-27T09:01:12.486" v="82" actId="1037"/>
          <ac:spMkLst>
            <pc:docMk/>
            <pc:sldMk cId="1495152177" sldId="298"/>
            <ac:spMk id="13" creationId="{93412675-62AA-41D8-997C-4E877ED953A8}"/>
          </ac:spMkLst>
        </pc:spChg>
        <pc:graphicFrameChg chg="modGraphic">
          <ac:chgData name="Meyer Raphael (PAR-ES)" userId="79615dfe-ed48-4e74-a40f-4f7b034c1c27" providerId="ADAL" clId="{4F3D56FD-03CF-408F-8B13-4C92A26822DE}" dt="2021-08-27T08:52:22.926" v="17"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4F3D56FD-03CF-408F-8B13-4C92A26822DE}" dt="2021-08-27T09:01:12.486" v="82" actId="1037"/>
          <ac:cxnSpMkLst>
            <pc:docMk/>
            <pc:sldMk cId="1495152177" sldId="298"/>
            <ac:cxnSpMk id="8" creationId="{6F3EB9D3-E612-42D9-859B-1905BD876C26}"/>
          </ac:cxnSpMkLst>
        </pc:cxnChg>
      </pc:sldChg>
      <pc:sldChg chg="modSp mod">
        <pc:chgData name="Meyer Raphael (PAR-ES)" userId="79615dfe-ed48-4e74-a40f-4f7b034c1c27" providerId="ADAL" clId="{4F3D56FD-03CF-408F-8B13-4C92A26822DE}" dt="2021-08-27T09:01:21.066" v="90" actId="1038"/>
        <pc:sldMkLst>
          <pc:docMk/>
          <pc:sldMk cId="3590012689" sldId="365"/>
        </pc:sldMkLst>
        <pc:spChg chg="mod">
          <ac:chgData name="Meyer Raphael (PAR-ES)" userId="79615dfe-ed48-4e74-a40f-4f7b034c1c27" providerId="ADAL" clId="{4F3D56FD-03CF-408F-8B13-4C92A26822DE}" dt="2021-08-27T09:01:21.066" v="90" actId="1038"/>
          <ac:spMkLst>
            <pc:docMk/>
            <pc:sldMk cId="3590012689" sldId="365"/>
            <ac:spMk id="12" creationId="{970D2C07-63A2-4265-B006-56F685FE80A5}"/>
          </ac:spMkLst>
        </pc:spChg>
        <pc:spChg chg="mod">
          <ac:chgData name="Meyer Raphael (PAR-ES)" userId="79615dfe-ed48-4e74-a40f-4f7b034c1c27" providerId="ADAL" clId="{4F3D56FD-03CF-408F-8B13-4C92A26822DE}" dt="2021-08-27T09:01:21.066" v="90" actId="1038"/>
          <ac:spMkLst>
            <pc:docMk/>
            <pc:sldMk cId="3590012689" sldId="365"/>
            <ac:spMk id="13" creationId="{93412675-62AA-41D8-997C-4E877ED953A8}"/>
          </ac:spMkLst>
        </pc:spChg>
        <pc:graphicFrameChg chg="mod modGraphic">
          <ac:chgData name="Meyer Raphael (PAR-ES)" userId="79615dfe-ed48-4e74-a40f-4f7b034c1c27" providerId="ADAL" clId="{4F3D56FD-03CF-408F-8B13-4C92A26822DE}" dt="2021-08-27T08:52:51.171" v="23"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4F3D56FD-03CF-408F-8B13-4C92A26822DE}" dt="2021-08-27T09:01:21.066" v="90" actId="1038"/>
          <ac:cxnSpMkLst>
            <pc:docMk/>
            <pc:sldMk cId="3590012689" sldId="365"/>
            <ac:cxnSpMk id="8" creationId="{6F3EB9D3-E612-42D9-859B-1905BD876C26}"/>
          </ac:cxnSpMkLst>
        </pc:cxnChg>
      </pc:sldChg>
      <pc:sldChg chg="modSp mod">
        <pc:chgData name="Meyer Raphael (PAR-ES)" userId="79615dfe-ed48-4e74-a40f-4f7b034c1c27" providerId="ADAL" clId="{4F3D56FD-03CF-408F-8B13-4C92A26822DE}" dt="2021-08-27T09:01:32.964" v="100" actId="1038"/>
        <pc:sldMkLst>
          <pc:docMk/>
          <pc:sldMk cId="689864941" sldId="366"/>
        </pc:sldMkLst>
        <pc:spChg chg="mod">
          <ac:chgData name="Meyer Raphael (PAR-ES)" userId="79615dfe-ed48-4e74-a40f-4f7b034c1c27" providerId="ADAL" clId="{4F3D56FD-03CF-408F-8B13-4C92A26822DE}" dt="2021-08-27T09:01:32.964" v="100" actId="1038"/>
          <ac:spMkLst>
            <pc:docMk/>
            <pc:sldMk cId="689864941" sldId="366"/>
            <ac:spMk id="12" creationId="{970D2C07-63A2-4265-B006-56F685FE80A5}"/>
          </ac:spMkLst>
        </pc:spChg>
        <pc:spChg chg="mod">
          <ac:chgData name="Meyer Raphael (PAR-ES)" userId="79615dfe-ed48-4e74-a40f-4f7b034c1c27" providerId="ADAL" clId="{4F3D56FD-03CF-408F-8B13-4C92A26822DE}" dt="2021-08-27T09:01:32.964" v="100" actId="1038"/>
          <ac:spMkLst>
            <pc:docMk/>
            <pc:sldMk cId="689864941" sldId="366"/>
            <ac:spMk id="13" creationId="{93412675-62AA-41D8-997C-4E877ED953A8}"/>
          </ac:spMkLst>
        </pc:spChg>
        <pc:graphicFrameChg chg="mod modGraphic">
          <ac:chgData name="Meyer Raphael (PAR-ES)" userId="79615dfe-ed48-4e74-a40f-4f7b034c1c27" providerId="ADAL" clId="{4F3D56FD-03CF-408F-8B13-4C92A26822DE}" dt="2021-08-27T08:52:46.229" v="21"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4F3D56FD-03CF-408F-8B13-4C92A26822DE}" dt="2021-08-27T09:01:32.964" v="100" actId="1038"/>
          <ac:cxnSpMkLst>
            <pc:docMk/>
            <pc:sldMk cId="689864941" sldId="366"/>
            <ac:cxnSpMk id="8" creationId="{6F3EB9D3-E612-42D9-859B-1905BD876C26}"/>
          </ac:cxnSpMkLst>
        </pc:cxnChg>
      </pc:sldChg>
    </pc:docChg>
  </pc:docChgLst>
  <pc:docChgLst>
    <pc:chgData name="Meyer Raphael (PAR-ES)" userId="79615dfe-ed48-4e74-a40f-4f7b034c1c27" providerId="ADAL" clId="{A2DD61CA-6B95-4175-889D-19BB2C2B976E}"/>
    <pc:docChg chg="modSld">
      <pc:chgData name="Meyer Raphael (PAR-ES)" userId="79615dfe-ed48-4e74-a40f-4f7b034c1c27" providerId="ADAL" clId="{A2DD61CA-6B95-4175-889D-19BB2C2B976E}" dt="2021-09-24T07:09:23.522" v="89" actId="1037"/>
      <pc:docMkLst>
        <pc:docMk/>
      </pc:docMkLst>
      <pc:sldChg chg="modSp mod">
        <pc:chgData name="Meyer Raphael (PAR-ES)" userId="79615dfe-ed48-4e74-a40f-4f7b034c1c27" providerId="ADAL" clId="{A2DD61CA-6B95-4175-889D-19BB2C2B976E}" dt="2021-09-24T07:08:54.959" v="70" actId="1037"/>
        <pc:sldMkLst>
          <pc:docMk/>
          <pc:sldMk cId="1495152177" sldId="298"/>
        </pc:sldMkLst>
        <pc:spChg chg="mod">
          <ac:chgData name="Meyer Raphael (PAR-ES)" userId="79615dfe-ed48-4e74-a40f-4f7b034c1c27" providerId="ADAL" clId="{A2DD61CA-6B95-4175-889D-19BB2C2B976E}" dt="2021-09-24T07:08:54.959" v="70" actId="1037"/>
          <ac:spMkLst>
            <pc:docMk/>
            <pc:sldMk cId="1495152177" sldId="298"/>
            <ac:spMk id="12" creationId="{970D2C07-63A2-4265-B006-56F685FE80A5}"/>
          </ac:spMkLst>
        </pc:spChg>
        <pc:spChg chg="mod">
          <ac:chgData name="Meyer Raphael (PAR-ES)" userId="79615dfe-ed48-4e74-a40f-4f7b034c1c27" providerId="ADAL" clId="{A2DD61CA-6B95-4175-889D-19BB2C2B976E}" dt="2021-09-24T07:08:54.959" v="70" actId="1037"/>
          <ac:spMkLst>
            <pc:docMk/>
            <pc:sldMk cId="1495152177" sldId="298"/>
            <ac:spMk id="13" creationId="{93412675-62AA-41D8-997C-4E877ED953A8}"/>
          </ac:spMkLst>
        </pc:spChg>
        <pc:graphicFrameChg chg="modGraphic">
          <ac:chgData name="Meyer Raphael (PAR-ES)" userId="79615dfe-ed48-4e74-a40f-4f7b034c1c27" providerId="ADAL" clId="{A2DD61CA-6B95-4175-889D-19BB2C2B976E}" dt="2021-09-24T06:57:21.433" v="22"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A2DD61CA-6B95-4175-889D-19BB2C2B976E}" dt="2021-09-24T07:08:54.959" v="70" actId="1037"/>
          <ac:cxnSpMkLst>
            <pc:docMk/>
            <pc:sldMk cId="1495152177" sldId="298"/>
            <ac:cxnSpMk id="8" creationId="{6F3EB9D3-E612-42D9-859B-1905BD876C26}"/>
          </ac:cxnSpMkLst>
        </pc:cxnChg>
      </pc:sldChg>
      <pc:sldChg chg="modTransition">
        <pc:chgData name="Meyer Raphael (PAR-ES)" userId="79615dfe-ed48-4e74-a40f-4f7b034c1c27" providerId="ADAL" clId="{A2DD61CA-6B95-4175-889D-19BB2C2B976E}" dt="2021-09-21T09:18:43.188" v="0"/>
        <pc:sldMkLst>
          <pc:docMk/>
          <pc:sldMk cId="3137099422" sldId="358"/>
        </pc:sldMkLst>
      </pc:sldChg>
      <pc:sldChg chg="modSp mod">
        <pc:chgData name="Meyer Raphael (PAR-ES)" userId="79615dfe-ed48-4e74-a40f-4f7b034c1c27" providerId="ADAL" clId="{A2DD61CA-6B95-4175-889D-19BB2C2B976E}" dt="2021-09-24T07:09:04.741" v="80" actId="1037"/>
        <pc:sldMkLst>
          <pc:docMk/>
          <pc:sldMk cId="3590012689" sldId="365"/>
        </pc:sldMkLst>
        <pc:spChg chg="mod">
          <ac:chgData name="Meyer Raphael (PAR-ES)" userId="79615dfe-ed48-4e74-a40f-4f7b034c1c27" providerId="ADAL" clId="{A2DD61CA-6B95-4175-889D-19BB2C2B976E}" dt="2021-09-24T07:09:04.741" v="80" actId="1037"/>
          <ac:spMkLst>
            <pc:docMk/>
            <pc:sldMk cId="3590012689" sldId="365"/>
            <ac:spMk id="12" creationId="{970D2C07-63A2-4265-B006-56F685FE80A5}"/>
          </ac:spMkLst>
        </pc:spChg>
        <pc:spChg chg="mod">
          <ac:chgData name="Meyer Raphael (PAR-ES)" userId="79615dfe-ed48-4e74-a40f-4f7b034c1c27" providerId="ADAL" clId="{A2DD61CA-6B95-4175-889D-19BB2C2B976E}" dt="2021-09-24T07:09:04.741" v="80" actId="1037"/>
          <ac:spMkLst>
            <pc:docMk/>
            <pc:sldMk cId="3590012689" sldId="365"/>
            <ac:spMk id="13" creationId="{93412675-62AA-41D8-997C-4E877ED953A8}"/>
          </ac:spMkLst>
        </pc:spChg>
        <pc:graphicFrameChg chg="mod modGraphic">
          <ac:chgData name="Meyer Raphael (PAR-ES)" userId="79615dfe-ed48-4e74-a40f-4f7b034c1c27" providerId="ADAL" clId="{A2DD61CA-6B95-4175-889D-19BB2C2B976E}" dt="2021-09-24T06:57:33.811" v="25"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A2DD61CA-6B95-4175-889D-19BB2C2B976E}" dt="2021-09-24T07:09:04.741" v="80" actId="1037"/>
          <ac:cxnSpMkLst>
            <pc:docMk/>
            <pc:sldMk cId="3590012689" sldId="365"/>
            <ac:cxnSpMk id="8" creationId="{6F3EB9D3-E612-42D9-859B-1905BD876C26}"/>
          </ac:cxnSpMkLst>
        </pc:cxnChg>
      </pc:sldChg>
      <pc:sldChg chg="modSp mod">
        <pc:chgData name="Meyer Raphael (PAR-ES)" userId="79615dfe-ed48-4e74-a40f-4f7b034c1c27" providerId="ADAL" clId="{A2DD61CA-6B95-4175-889D-19BB2C2B976E}" dt="2021-09-24T07:09:23.522" v="89" actId="1037"/>
        <pc:sldMkLst>
          <pc:docMk/>
          <pc:sldMk cId="689864941" sldId="366"/>
        </pc:sldMkLst>
        <pc:spChg chg="mod">
          <ac:chgData name="Meyer Raphael (PAR-ES)" userId="79615dfe-ed48-4e74-a40f-4f7b034c1c27" providerId="ADAL" clId="{A2DD61CA-6B95-4175-889D-19BB2C2B976E}" dt="2021-09-24T07:09:23.522" v="89" actId="1037"/>
          <ac:spMkLst>
            <pc:docMk/>
            <pc:sldMk cId="689864941" sldId="366"/>
            <ac:spMk id="12" creationId="{970D2C07-63A2-4265-B006-56F685FE80A5}"/>
          </ac:spMkLst>
        </pc:spChg>
        <pc:spChg chg="mod">
          <ac:chgData name="Meyer Raphael (PAR-ES)" userId="79615dfe-ed48-4e74-a40f-4f7b034c1c27" providerId="ADAL" clId="{A2DD61CA-6B95-4175-889D-19BB2C2B976E}" dt="2021-09-24T07:09:23.522" v="89" actId="1037"/>
          <ac:spMkLst>
            <pc:docMk/>
            <pc:sldMk cId="689864941" sldId="366"/>
            <ac:spMk id="13" creationId="{93412675-62AA-41D8-997C-4E877ED953A8}"/>
          </ac:spMkLst>
        </pc:spChg>
        <pc:graphicFrameChg chg="mod modGraphic">
          <ac:chgData name="Meyer Raphael (PAR-ES)" userId="79615dfe-ed48-4e74-a40f-4f7b034c1c27" providerId="ADAL" clId="{A2DD61CA-6B95-4175-889D-19BB2C2B976E}" dt="2021-09-24T06:57:41.829" v="28"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A2DD61CA-6B95-4175-889D-19BB2C2B976E}" dt="2021-09-24T07:09:23.522" v="89" actId="1037"/>
          <ac:cxnSpMkLst>
            <pc:docMk/>
            <pc:sldMk cId="689864941" sldId="366"/>
            <ac:cxnSpMk id="8" creationId="{6F3EB9D3-E612-42D9-859B-1905BD876C26}"/>
          </ac:cxnSpMkLst>
        </pc:cxnChg>
      </pc:sldChg>
    </pc:docChg>
  </pc:docChgLst>
  <pc:docChgLst>
    <pc:chgData name="Meyer Raphael (PAR-ES)" userId="79615dfe-ed48-4e74-a40f-4f7b034c1c27" providerId="ADAL" clId="{CD636C40-63FB-40E8-86E9-5777E408B16F}"/>
    <pc:docChg chg="undo custSel addSld delSld modSld sldOrd">
      <pc:chgData name="Meyer Raphael (PAR-ES)" userId="79615dfe-ed48-4e74-a40f-4f7b034c1c27" providerId="ADAL" clId="{CD636C40-63FB-40E8-86E9-5777E408B16F}" dt="2021-02-11T08:20:50.692" v="109" actId="20577"/>
      <pc:docMkLst>
        <pc:docMk/>
      </pc:docMkLst>
      <pc:sldChg chg="addSp delSp modSp mod">
        <pc:chgData name="Meyer Raphael (PAR-ES)" userId="79615dfe-ed48-4e74-a40f-4f7b034c1c27" providerId="ADAL" clId="{CD636C40-63FB-40E8-86E9-5777E408B16F}" dt="2021-02-11T08:18:30.197" v="85" actId="552"/>
        <pc:sldMkLst>
          <pc:docMk/>
          <pc:sldMk cId="1667945532" sldId="306"/>
        </pc:sldMkLst>
        <pc:spChg chg="mod">
          <ac:chgData name="Meyer Raphael (PAR-ES)" userId="79615dfe-ed48-4e74-a40f-4f7b034c1c27" providerId="ADAL" clId="{CD636C40-63FB-40E8-86E9-5777E408B16F}" dt="2021-02-11T08:09:18.237" v="20" actId="20577"/>
          <ac:spMkLst>
            <pc:docMk/>
            <pc:sldMk cId="1667945532" sldId="306"/>
            <ac:spMk id="8" creationId="{5857C2A1-2CB8-4D4A-AEFD-E809BF73D04F}"/>
          </ac:spMkLst>
        </pc:spChg>
        <pc:spChg chg="mod">
          <ac:chgData name="Meyer Raphael (PAR-ES)" userId="79615dfe-ed48-4e74-a40f-4f7b034c1c27" providerId="ADAL" clId="{CD636C40-63FB-40E8-86E9-5777E408B16F}" dt="2021-02-11T08:09:50.711" v="24" actId="20577"/>
          <ac:spMkLst>
            <pc:docMk/>
            <pc:sldMk cId="1667945532" sldId="306"/>
            <ac:spMk id="27" creationId="{46A6B042-39EE-4A58-BBAA-13D52264B660}"/>
          </ac:spMkLst>
        </pc:spChg>
        <pc:spChg chg="mod">
          <ac:chgData name="Meyer Raphael (PAR-ES)" userId="79615dfe-ed48-4e74-a40f-4f7b034c1c27" providerId="ADAL" clId="{CD636C40-63FB-40E8-86E9-5777E408B16F}" dt="2021-02-11T08:09:58.975" v="26" actId="20577"/>
          <ac:spMkLst>
            <pc:docMk/>
            <pc:sldMk cId="1667945532" sldId="306"/>
            <ac:spMk id="31" creationId="{7491A47D-CAD4-478D-8F3A-296FFCB799F9}"/>
          </ac:spMkLst>
        </pc:spChg>
        <pc:spChg chg="mod">
          <ac:chgData name="Meyer Raphael (PAR-ES)" userId="79615dfe-ed48-4e74-a40f-4f7b034c1c27" providerId="ADAL" clId="{CD636C40-63FB-40E8-86E9-5777E408B16F}" dt="2021-02-11T08:09:14.863" v="18" actId="1076"/>
          <ac:spMkLst>
            <pc:docMk/>
            <pc:sldMk cId="1667945532" sldId="306"/>
            <ac:spMk id="32" creationId="{E65DDA4F-7190-4D5B-B875-6818D18C9F6E}"/>
          </ac:spMkLst>
        </pc:spChg>
        <pc:spChg chg="del mod">
          <ac:chgData name="Meyer Raphael (PAR-ES)" userId="79615dfe-ed48-4e74-a40f-4f7b034c1c27" providerId="ADAL" clId="{CD636C40-63FB-40E8-86E9-5777E408B16F}" dt="2021-02-11T08:18:21.466" v="84" actId="478"/>
          <ac:spMkLst>
            <pc:docMk/>
            <pc:sldMk cId="1667945532" sldId="306"/>
            <ac:spMk id="33" creationId="{1263211D-7647-4ACE-B729-2338DF0FFB67}"/>
          </ac:spMkLst>
        </pc:spChg>
        <pc:spChg chg="add mod">
          <ac:chgData name="Meyer Raphael (PAR-ES)" userId="79615dfe-ed48-4e74-a40f-4f7b034c1c27" providerId="ADAL" clId="{CD636C40-63FB-40E8-86E9-5777E408B16F}" dt="2021-02-11T08:18:30.197" v="85" actId="552"/>
          <ac:spMkLst>
            <pc:docMk/>
            <pc:sldMk cId="1667945532" sldId="306"/>
            <ac:spMk id="36" creationId="{27098D61-DF6B-46BC-A4A9-43CB29665BFF}"/>
          </ac:spMkLst>
        </pc:spChg>
        <pc:spChg chg="mod">
          <ac:chgData name="Meyer Raphael (PAR-ES)" userId="79615dfe-ed48-4e74-a40f-4f7b034c1c27" providerId="ADAL" clId="{CD636C40-63FB-40E8-86E9-5777E408B16F}" dt="2021-02-11T08:18:30.197" v="85" actId="552"/>
          <ac:spMkLst>
            <pc:docMk/>
            <pc:sldMk cId="1667945532" sldId="306"/>
            <ac:spMk id="37" creationId="{16628D91-C37D-41C8-A84A-DDEB3E2C1246}"/>
          </ac:spMkLst>
        </pc:spChg>
      </pc:sldChg>
      <pc:sldChg chg="del">
        <pc:chgData name="Meyer Raphael (PAR-ES)" userId="79615dfe-ed48-4e74-a40f-4f7b034c1c27" providerId="ADAL" clId="{CD636C40-63FB-40E8-86E9-5777E408B16F}" dt="2021-02-11T08:14:51.826" v="56" actId="2696"/>
        <pc:sldMkLst>
          <pc:docMk/>
          <pc:sldMk cId="3641903134" sldId="326"/>
        </pc:sldMkLst>
      </pc:sldChg>
      <pc:sldChg chg="del">
        <pc:chgData name="Meyer Raphael (PAR-ES)" userId="79615dfe-ed48-4e74-a40f-4f7b034c1c27" providerId="ADAL" clId="{CD636C40-63FB-40E8-86E9-5777E408B16F}" dt="2021-02-11T08:16:43.279" v="65" actId="2696"/>
        <pc:sldMkLst>
          <pc:docMk/>
          <pc:sldMk cId="3348111305" sldId="327"/>
        </pc:sldMkLst>
      </pc:sldChg>
      <pc:sldChg chg="addSp delSp modSp add ord">
        <pc:chgData name="Meyer Raphael (PAR-ES)" userId="79615dfe-ed48-4e74-a40f-4f7b034c1c27" providerId="ADAL" clId="{CD636C40-63FB-40E8-86E9-5777E408B16F}" dt="2021-02-11T08:18:55.947" v="87"/>
        <pc:sldMkLst>
          <pc:docMk/>
          <pc:sldMk cId="2900013276" sldId="328"/>
        </pc:sldMkLst>
        <pc:spChg chg="mod">
          <ac:chgData name="Meyer Raphael (PAR-ES)" userId="79615dfe-ed48-4e74-a40f-4f7b034c1c27" providerId="ADAL" clId="{CD636C40-63FB-40E8-86E9-5777E408B16F}" dt="2021-02-11T08:13:34.494" v="51"/>
          <ac:spMkLst>
            <pc:docMk/>
            <pc:sldMk cId="2900013276" sldId="328"/>
            <ac:spMk id="2" creationId="{A2DC317F-F1F4-4624-8FC1-3B68C1DBB3DA}"/>
          </ac:spMkLst>
        </pc:spChg>
        <pc:spChg chg="del">
          <ac:chgData name="Meyer Raphael (PAR-ES)" userId="79615dfe-ed48-4e74-a40f-4f7b034c1c27" providerId="ADAL" clId="{CD636C40-63FB-40E8-86E9-5777E408B16F}" dt="2021-02-11T08:13:09.291" v="49" actId="478"/>
          <ac:spMkLst>
            <pc:docMk/>
            <pc:sldMk cId="2900013276" sldId="328"/>
            <ac:spMk id="7" creationId="{BA3F9A72-0541-4D1F-8CD8-1C2B8074FA1B}"/>
          </ac:spMkLst>
        </pc:spChg>
        <pc:spChg chg="mod">
          <ac:chgData name="Meyer Raphael (PAR-ES)" userId="79615dfe-ed48-4e74-a40f-4f7b034c1c27" providerId="ADAL" clId="{CD636C40-63FB-40E8-86E9-5777E408B16F}" dt="2021-02-11T08:14:20.855" v="54" actId="14100"/>
          <ac:spMkLst>
            <pc:docMk/>
            <pc:sldMk cId="2900013276" sldId="328"/>
            <ac:spMk id="8" creationId="{5857C2A1-2CB8-4D4A-AEFD-E809BF73D04F}"/>
          </ac:spMkLst>
        </pc:spChg>
        <pc:spChg chg="del">
          <ac:chgData name="Meyer Raphael (PAR-ES)" userId="79615dfe-ed48-4e74-a40f-4f7b034c1c27" providerId="ADAL" clId="{CD636C40-63FB-40E8-86E9-5777E408B16F}" dt="2021-02-11T08:13:09.291" v="49" actId="478"/>
          <ac:spMkLst>
            <pc:docMk/>
            <pc:sldMk cId="2900013276" sldId="328"/>
            <ac:spMk id="9" creationId="{B6990B61-32B2-4ADC-BF01-EDF7B4080F97}"/>
          </ac:spMkLst>
        </pc:spChg>
        <pc:spChg chg="mod">
          <ac:chgData name="Meyer Raphael (PAR-ES)" userId="79615dfe-ed48-4e74-a40f-4f7b034c1c27" providerId="ADAL" clId="{CD636C40-63FB-40E8-86E9-5777E408B16F}" dt="2021-02-11T08:13:43.335" v="52"/>
          <ac:spMkLst>
            <pc:docMk/>
            <pc:sldMk cId="2900013276" sldId="328"/>
            <ac:spMk id="10" creationId="{077DFD58-E5EE-4B68-9325-D935DB04DD40}"/>
          </ac:spMkLst>
        </pc:spChg>
        <pc:spChg chg="del">
          <ac:chgData name="Meyer Raphael (PAR-ES)" userId="79615dfe-ed48-4e74-a40f-4f7b034c1c27" providerId="ADAL" clId="{CD636C40-63FB-40E8-86E9-5777E408B16F}" dt="2021-02-11T08:13:09.291" v="49" actId="478"/>
          <ac:spMkLst>
            <pc:docMk/>
            <pc:sldMk cId="2900013276" sldId="328"/>
            <ac:spMk id="17" creationId="{785E740C-F94A-4208-8DFD-63A603C16577}"/>
          </ac:spMkLst>
        </pc:spChg>
        <pc:spChg chg="del">
          <ac:chgData name="Meyer Raphael (PAR-ES)" userId="79615dfe-ed48-4e74-a40f-4f7b034c1c27" providerId="ADAL" clId="{CD636C40-63FB-40E8-86E9-5777E408B16F}" dt="2021-02-11T08:13:09.291" v="49" actId="478"/>
          <ac:spMkLst>
            <pc:docMk/>
            <pc:sldMk cId="2900013276" sldId="328"/>
            <ac:spMk id="26" creationId="{BFD498B5-D73E-4C8A-9FAF-B3547647538C}"/>
          </ac:spMkLst>
        </pc:spChg>
        <pc:spChg chg="mod">
          <ac:chgData name="Meyer Raphael (PAR-ES)" userId="79615dfe-ed48-4e74-a40f-4f7b034c1c27" providerId="ADAL" clId="{CD636C40-63FB-40E8-86E9-5777E408B16F}" dt="2021-02-11T08:14:31.578" v="55"/>
          <ac:spMkLst>
            <pc:docMk/>
            <pc:sldMk cId="2900013276" sldId="328"/>
            <ac:spMk id="27" creationId="{46A6B042-39EE-4A58-BBAA-13D52264B660}"/>
          </ac:spMkLst>
        </pc:spChg>
        <pc:spChg chg="del">
          <ac:chgData name="Meyer Raphael (PAR-ES)" userId="79615dfe-ed48-4e74-a40f-4f7b034c1c27" providerId="ADAL" clId="{CD636C40-63FB-40E8-86E9-5777E408B16F}" dt="2021-02-11T08:18:46.580" v="86" actId="478"/>
          <ac:spMkLst>
            <pc:docMk/>
            <pc:sldMk cId="2900013276" sldId="328"/>
            <ac:spMk id="33" creationId="{1263211D-7647-4ACE-B729-2338DF0FFB67}"/>
          </ac:spMkLst>
        </pc:spChg>
        <pc:spChg chg="add">
          <ac:chgData name="Meyer Raphael (PAR-ES)" userId="79615dfe-ed48-4e74-a40f-4f7b034c1c27" providerId="ADAL" clId="{CD636C40-63FB-40E8-86E9-5777E408B16F}" dt="2021-02-11T08:13:21.654" v="50"/>
          <ac:spMkLst>
            <pc:docMk/>
            <pc:sldMk cId="2900013276" sldId="328"/>
            <ac:spMk id="36" creationId="{9F620A94-48B3-4A32-8D02-8E0C7111D7C4}"/>
          </ac:spMkLst>
        </pc:spChg>
        <pc:spChg chg="del">
          <ac:chgData name="Meyer Raphael (PAR-ES)" userId="79615dfe-ed48-4e74-a40f-4f7b034c1c27" providerId="ADAL" clId="{CD636C40-63FB-40E8-86E9-5777E408B16F}" dt="2021-02-11T08:18:46.580" v="86" actId="478"/>
          <ac:spMkLst>
            <pc:docMk/>
            <pc:sldMk cId="2900013276" sldId="328"/>
            <ac:spMk id="37" creationId="{16628D91-C37D-41C8-A84A-DDEB3E2C1246}"/>
          </ac:spMkLst>
        </pc:spChg>
        <pc:spChg chg="add">
          <ac:chgData name="Meyer Raphael (PAR-ES)" userId="79615dfe-ed48-4e74-a40f-4f7b034c1c27" providerId="ADAL" clId="{CD636C40-63FB-40E8-86E9-5777E408B16F}" dt="2021-02-11T08:13:21.654" v="50"/>
          <ac:spMkLst>
            <pc:docMk/>
            <pc:sldMk cId="2900013276" sldId="328"/>
            <ac:spMk id="38" creationId="{7E0D9206-4F88-4FD5-A4E9-D4EE58655A73}"/>
          </ac:spMkLst>
        </pc:spChg>
        <pc:spChg chg="add">
          <ac:chgData name="Meyer Raphael (PAR-ES)" userId="79615dfe-ed48-4e74-a40f-4f7b034c1c27" providerId="ADAL" clId="{CD636C40-63FB-40E8-86E9-5777E408B16F}" dt="2021-02-11T08:13:21.654" v="50"/>
          <ac:spMkLst>
            <pc:docMk/>
            <pc:sldMk cId="2900013276" sldId="328"/>
            <ac:spMk id="39" creationId="{EBA33F06-F0C1-40E4-B0D3-3EF759D99492}"/>
          </ac:spMkLst>
        </pc:spChg>
        <pc:spChg chg="add">
          <ac:chgData name="Meyer Raphael (PAR-ES)" userId="79615dfe-ed48-4e74-a40f-4f7b034c1c27" providerId="ADAL" clId="{CD636C40-63FB-40E8-86E9-5777E408B16F}" dt="2021-02-11T08:13:21.654" v="50"/>
          <ac:spMkLst>
            <pc:docMk/>
            <pc:sldMk cId="2900013276" sldId="328"/>
            <ac:spMk id="40" creationId="{6951EDCC-BDC2-44B4-A0D5-81A9D2918899}"/>
          </ac:spMkLst>
        </pc:spChg>
        <pc:spChg chg="add">
          <ac:chgData name="Meyer Raphael (PAR-ES)" userId="79615dfe-ed48-4e74-a40f-4f7b034c1c27" providerId="ADAL" clId="{CD636C40-63FB-40E8-86E9-5777E408B16F}" dt="2021-02-11T08:18:55.947" v="87"/>
          <ac:spMkLst>
            <pc:docMk/>
            <pc:sldMk cId="2900013276" sldId="328"/>
            <ac:spMk id="41" creationId="{FF289EA6-3349-4669-8315-5B2140F42756}"/>
          </ac:spMkLst>
        </pc:spChg>
        <pc:spChg chg="add">
          <ac:chgData name="Meyer Raphael (PAR-ES)" userId="79615dfe-ed48-4e74-a40f-4f7b034c1c27" providerId="ADAL" clId="{CD636C40-63FB-40E8-86E9-5777E408B16F}" dt="2021-02-11T08:18:55.947" v="87"/>
          <ac:spMkLst>
            <pc:docMk/>
            <pc:sldMk cId="2900013276" sldId="328"/>
            <ac:spMk id="42" creationId="{E63861C7-D3B0-408F-823C-CD6D2C54C245}"/>
          </ac:spMkLst>
        </pc:spChg>
      </pc:sldChg>
      <pc:sldChg chg="addSp delSp modSp add ord">
        <pc:chgData name="Meyer Raphael (PAR-ES)" userId="79615dfe-ed48-4e74-a40f-4f7b034c1c27" providerId="ADAL" clId="{CD636C40-63FB-40E8-86E9-5777E408B16F}" dt="2021-02-11T08:20:50.692" v="109" actId="20577"/>
        <pc:sldMkLst>
          <pc:docMk/>
          <pc:sldMk cId="1718428447" sldId="329"/>
        </pc:sldMkLst>
        <pc:spChg chg="mod">
          <ac:chgData name="Meyer Raphael (PAR-ES)" userId="79615dfe-ed48-4e74-a40f-4f7b034c1c27" providerId="ADAL" clId="{CD636C40-63FB-40E8-86E9-5777E408B16F}" dt="2021-02-11T08:15:24.726" v="59"/>
          <ac:spMkLst>
            <pc:docMk/>
            <pc:sldMk cId="1718428447" sldId="329"/>
            <ac:spMk id="2" creationId="{A2DC317F-F1F4-4624-8FC1-3B68C1DBB3DA}"/>
          </ac:spMkLst>
        </pc:spChg>
        <pc:spChg chg="mod">
          <ac:chgData name="Meyer Raphael (PAR-ES)" userId="79615dfe-ed48-4e74-a40f-4f7b034c1c27" providerId="ADAL" clId="{CD636C40-63FB-40E8-86E9-5777E408B16F}" dt="2021-02-11T08:20:36.557" v="102" actId="20577"/>
          <ac:spMkLst>
            <pc:docMk/>
            <pc:sldMk cId="1718428447" sldId="329"/>
            <ac:spMk id="4" creationId="{FE424811-9A99-46D3-9443-AAB22DAEAB5A}"/>
          </ac:spMkLst>
        </pc:spChg>
        <pc:spChg chg="del">
          <ac:chgData name="Meyer Raphael (PAR-ES)" userId="79615dfe-ed48-4e74-a40f-4f7b034c1c27" providerId="ADAL" clId="{CD636C40-63FB-40E8-86E9-5777E408B16F}" dt="2021-02-11T08:15:04.848" v="57" actId="478"/>
          <ac:spMkLst>
            <pc:docMk/>
            <pc:sldMk cId="1718428447" sldId="329"/>
            <ac:spMk id="7" creationId="{BA3F9A72-0541-4D1F-8CD8-1C2B8074FA1B}"/>
          </ac:spMkLst>
        </pc:spChg>
        <pc:spChg chg="mod">
          <ac:chgData name="Meyer Raphael (PAR-ES)" userId="79615dfe-ed48-4e74-a40f-4f7b034c1c27" providerId="ADAL" clId="{CD636C40-63FB-40E8-86E9-5777E408B16F}" dt="2021-02-11T08:15:44.225" v="62" actId="14100"/>
          <ac:spMkLst>
            <pc:docMk/>
            <pc:sldMk cId="1718428447" sldId="329"/>
            <ac:spMk id="8" creationId="{5857C2A1-2CB8-4D4A-AEFD-E809BF73D04F}"/>
          </ac:spMkLst>
        </pc:spChg>
        <pc:spChg chg="del">
          <ac:chgData name="Meyer Raphael (PAR-ES)" userId="79615dfe-ed48-4e74-a40f-4f7b034c1c27" providerId="ADAL" clId="{CD636C40-63FB-40E8-86E9-5777E408B16F}" dt="2021-02-11T08:15:04.848" v="57" actId="478"/>
          <ac:spMkLst>
            <pc:docMk/>
            <pc:sldMk cId="1718428447" sldId="329"/>
            <ac:spMk id="9" creationId="{B6990B61-32B2-4ADC-BF01-EDF7B4080F97}"/>
          </ac:spMkLst>
        </pc:spChg>
        <pc:spChg chg="mod">
          <ac:chgData name="Meyer Raphael (PAR-ES)" userId="79615dfe-ed48-4e74-a40f-4f7b034c1c27" providerId="ADAL" clId="{CD636C40-63FB-40E8-86E9-5777E408B16F}" dt="2021-02-11T08:15:33.848" v="60"/>
          <ac:spMkLst>
            <pc:docMk/>
            <pc:sldMk cId="1718428447" sldId="329"/>
            <ac:spMk id="10" creationId="{077DFD58-E5EE-4B68-9325-D935DB04DD40}"/>
          </ac:spMkLst>
        </pc:spChg>
        <pc:spChg chg="del">
          <ac:chgData name="Meyer Raphael (PAR-ES)" userId="79615dfe-ed48-4e74-a40f-4f7b034c1c27" providerId="ADAL" clId="{CD636C40-63FB-40E8-86E9-5777E408B16F}" dt="2021-02-11T08:15:04.848" v="57" actId="478"/>
          <ac:spMkLst>
            <pc:docMk/>
            <pc:sldMk cId="1718428447" sldId="329"/>
            <ac:spMk id="17" creationId="{785E740C-F94A-4208-8DFD-63A603C16577}"/>
          </ac:spMkLst>
        </pc:spChg>
        <pc:spChg chg="del">
          <ac:chgData name="Meyer Raphael (PAR-ES)" userId="79615dfe-ed48-4e74-a40f-4f7b034c1c27" providerId="ADAL" clId="{CD636C40-63FB-40E8-86E9-5777E408B16F}" dt="2021-02-11T08:15:04.848" v="57" actId="478"/>
          <ac:spMkLst>
            <pc:docMk/>
            <pc:sldMk cId="1718428447" sldId="329"/>
            <ac:spMk id="26" creationId="{BFD498B5-D73E-4C8A-9FAF-B3547647538C}"/>
          </ac:spMkLst>
        </pc:spChg>
        <pc:spChg chg="mod">
          <ac:chgData name="Meyer Raphael (PAR-ES)" userId="79615dfe-ed48-4e74-a40f-4f7b034c1c27" providerId="ADAL" clId="{CD636C40-63FB-40E8-86E9-5777E408B16F}" dt="2021-02-11T08:15:59.736" v="64" actId="14100"/>
          <ac:spMkLst>
            <pc:docMk/>
            <pc:sldMk cId="1718428447" sldId="329"/>
            <ac:spMk id="27" creationId="{46A6B042-39EE-4A58-BBAA-13D52264B660}"/>
          </ac:spMkLst>
        </pc:spChg>
        <pc:spChg chg="del">
          <ac:chgData name="Meyer Raphael (PAR-ES)" userId="79615dfe-ed48-4e74-a40f-4f7b034c1c27" providerId="ADAL" clId="{CD636C40-63FB-40E8-86E9-5777E408B16F}" dt="2021-02-11T08:19:16.594" v="90" actId="478"/>
          <ac:spMkLst>
            <pc:docMk/>
            <pc:sldMk cId="1718428447" sldId="329"/>
            <ac:spMk id="33" creationId="{1263211D-7647-4ACE-B729-2338DF0FFB67}"/>
          </ac:spMkLst>
        </pc:spChg>
        <pc:spChg chg="add">
          <ac:chgData name="Meyer Raphael (PAR-ES)" userId="79615dfe-ed48-4e74-a40f-4f7b034c1c27" providerId="ADAL" clId="{CD636C40-63FB-40E8-86E9-5777E408B16F}" dt="2021-02-11T08:15:15.432" v="58"/>
          <ac:spMkLst>
            <pc:docMk/>
            <pc:sldMk cId="1718428447" sldId="329"/>
            <ac:spMk id="36" creationId="{17B621E9-2C02-4CFA-835E-85444E19539B}"/>
          </ac:spMkLst>
        </pc:spChg>
        <pc:spChg chg="del mod">
          <ac:chgData name="Meyer Raphael (PAR-ES)" userId="79615dfe-ed48-4e74-a40f-4f7b034c1c27" providerId="ADAL" clId="{CD636C40-63FB-40E8-86E9-5777E408B16F}" dt="2021-02-11T08:19:11.082" v="89" actId="478"/>
          <ac:spMkLst>
            <pc:docMk/>
            <pc:sldMk cId="1718428447" sldId="329"/>
            <ac:spMk id="37" creationId="{16628D91-C37D-41C8-A84A-DDEB3E2C1246}"/>
          </ac:spMkLst>
        </pc:spChg>
        <pc:spChg chg="add">
          <ac:chgData name="Meyer Raphael (PAR-ES)" userId="79615dfe-ed48-4e74-a40f-4f7b034c1c27" providerId="ADAL" clId="{CD636C40-63FB-40E8-86E9-5777E408B16F}" dt="2021-02-11T08:15:15.432" v="58"/>
          <ac:spMkLst>
            <pc:docMk/>
            <pc:sldMk cId="1718428447" sldId="329"/>
            <ac:spMk id="38" creationId="{A4460C9F-0999-4A0D-93FD-4A6F2822067A}"/>
          </ac:spMkLst>
        </pc:spChg>
        <pc:spChg chg="add">
          <ac:chgData name="Meyer Raphael (PAR-ES)" userId="79615dfe-ed48-4e74-a40f-4f7b034c1c27" providerId="ADAL" clId="{CD636C40-63FB-40E8-86E9-5777E408B16F}" dt="2021-02-11T08:15:15.432" v="58"/>
          <ac:spMkLst>
            <pc:docMk/>
            <pc:sldMk cId="1718428447" sldId="329"/>
            <ac:spMk id="39" creationId="{EF2F7D9D-41A1-4953-8842-4E33D1CFF182}"/>
          </ac:spMkLst>
        </pc:spChg>
        <pc:spChg chg="add">
          <ac:chgData name="Meyer Raphael (PAR-ES)" userId="79615dfe-ed48-4e74-a40f-4f7b034c1c27" providerId="ADAL" clId="{CD636C40-63FB-40E8-86E9-5777E408B16F}" dt="2021-02-11T08:15:15.432" v="58"/>
          <ac:spMkLst>
            <pc:docMk/>
            <pc:sldMk cId="1718428447" sldId="329"/>
            <ac:spMk id="40" creationId="{566DE827-96DF-4111-A359-BC47452AA72A}"/>
          </ac:spMkLst>
        </pc:spChg>
        <pc:spChg chg="add mod">
          <ac:chgData name="Meyer Raphael (PAR-ES)" userId="79615dfe-ed48-4e74-a40f-4f7b034c1c27" providerId="ADAL" clId="{CD636C40-63FB-40E8-86E9-5777E408B16F}" dt="2021-02-11T08:20:19.594" v="99" actId="20577"/>
          <ac:spMkLst>
            <pc:docMk/>
            <pc:sldMk cId="1718428447" sldId="329"/>
            <ac:spMk id="41" creationId="{03E86024-0847-4E13-9015-F5986F92E85E}"/>
          </ac:spMkLst>
        </pc:spChg>
        <pc:spChg chg="add mod">
          <ac:chgData name="Meyer Raphael (PAR-ES)" userId="79615dfe-ed48-4e74-a40f-4f7b034c1c27" providerId="ADAL" clId="{CD636C40-63FB-40E8-86E9-5777E408B16F}" dt="2021-02-11T08:20:50.692" v="109" actId="20577"/>
          <ac:spMkLst>
            <pc:docMk/>
            <pc:sldMk cId="1718428447" sldId="329"/>
            <ac:spMk id="42" creationId="{A9A88063-EB30-4637-B156-6887AD719DE3}"/>
          </ac:spMkLst>
        </pc:spChg>
      </pc:sldChg>
    </pc:docChg>
  </pc:docChgLst>
  <pc:docChgLst>
    <pc:chgData name="Meyer Raphael (PAR-ES)" userId="79615dfe-ed48-4e74-a40f-4f7b034c1c27" providerId="ADAL" clId="{87A7CCAC-0DF3-412D-A196-A928A3FA26F0}"/>
    <pc:docChg chg="modSld">
      <pc:chgData name="Meyer Raphael (PAR-ES)" userId="79615dfe-ed48-4e74-a40f-4f7b034c1c27" providerId="ADAL" clId="{87A7CCAC-0DF3-412D-A196-A928A3FA26F0}" dt="2021-10-13T13:14:33.241" v="3" actId="207"/>
      <pc:docMkLst>
        <pc:docMk/>
      </pc:docMkLst>
      <pc:sldChg chg="modSp">
        <pc:chgData name="Meyer Raphael (PAR-ES)" userId="79615dfe-ed48-4e74-a40f-4f7b034c1c27" providerId="ADAL" clId="{87A7CCAC-0DF3-412D-A196-A928A3FA26F0}" dt="2021-10-13T13:14:33.241" v="3" actId="207"/>
        <pc:sldMkLst>
          <pc:docMk/>
          <pc:sldMk cId="1537997412" sldId="373"/>
        </pc:sldMkLst>
        <pc:graphicFrameChg chg="mod">
          <ac:chgData name="Meyer Raphael (PAR-ES)" userId="79615dfe-ed48-4e74-a40f-4f7b034c1c27" providerId="ADAL" clId="{87A7CCAC-0DF3-412D-A196-A928A3FA26F0}" dt="2021-10-13T13:14:33.241" v="3"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4CBE23F9-C8E6-4C37-B105-84FCD3DBA28A}"/>
    <pc:docChg chg="custSel addSld delSld modSld sldOrd">
      <pc:chgData name="Meyer Raphael (PAR-ES)" userId="79615dfe-ed48-4e74-a40f-4f7b034c1c27" providerId="ADAL" clId="{4CBE23F9-C8E6-4C37-B105-84FCD3DBA28A}" dt="2021-04-22T06:51:26.178" v="81" actId="2696"/>
      <pc:docMkLst>
        <pc:docMk/>
      </pc:docMkLst>
      <pc:sldChg chg="modSp mod">
        <pc:chgData name="Meyer Raphael (PAR-ES)" userId="79615dfe-ed48-4e74-a40f-4f7b034c1c27" providerId="ADAL" clId="{4CBE23F9-C8E6-4C37-B105-84FCD3DBA28A}" dt="2021-04-22T06:48:07.805" v="54" actId="20577"/>
        <pc:sldMkLst>
          <pc:docMk/>
          <pc:sldMk cId="1667945532" sldId="306"/>
        </pc:sldMkLst>
        <pc:spChg chg="mod">
          <ac:chgData name="Meyer Raphael (PAR-ES)" userId="79615dfe-ed48-4e74-a40f-4f7b034c1c27" providerId="ADAL" clId="{4CBE23F9-C8E6-4C37-B105-84FCD3DBA28A}" dt="2021-04-22T06:47:34.652" v="42" actId="20577"/>
          <ac:spMkLst>
            <pc:docMk/>
            <pc:sldMk cId="1667945532" sldId="306"/>
            <ac:spMk id="8" creationId="{5857C2A1-2CB8-4D4A-AEFD-E809BF73D04F}"/>
          </ac:spMkLst>
        </pc:spChg>
        <pc:spChg chg="mod">
          <ac:chgData name="Meyer Raphael (PAR-ES)" userId="79615dfe-ed48-4e74-a40f-4f7b034c1c27" providerId="ADAL" clId="{4CBE23F9-C8E6-4C37-B105-84FCD3DBA28A}" dt="2021-04-22T06:47:48.734" v="46" actId="20577"/>
          <ac:spMkLst>
            <pc:docMk/>
            <pc:sldMk cId="1667945532" sldId="306"/>
            <ac:spMk id="27" creationId="{46A6B042-39EE-4A58-BBAA-13D52264B660}"/>
          </ac:spMkLst>
        </pc:spChg>
        <pc:spChg chg="mod">
          <ac:chgData name="Meyer Raphael (PAR-ES)" userId="79615dfe-ed48-4e74-a40f-4f7b034c1c27" providerId="ADAL" clId="{4CBE23F9-C8E6-4C37-B105-84FCD3DBA28A}" dt="2021-04-22T06:47:18.961" v="40" actId="1076"/>
          <ac:spMkLst>
            <pc:docMk/>
            <pc:sldMk cId="1667945532" sldId="306"/>
            <ac:spMk id="28" creationId="{4492A3CD-6943-423D-BFEC-8129889E8B6F}"/>
          </ac:spMkLst>
        </pc:spChg>
        <pc:spChg chg="mod">
          <ac:chgData name="Meyer Raphael (PAR-ES)" userId="79615dfe-ed48-4e74-a40f-4f7b034c1c27" providerId="ADAL" clId="{4CBE23F9-C8E6-4C37-B105-84FCD3DBA28A}" dt="2021-04-22T06:48:07.805" v="54" actId="20577"/>
          <ac:spMkLst>
            <pc:docMk/>
            <pc:sldMk cId="1667945532" sldId="306"/>
            <ac:spMk id="31" creationId="{7491A47D-CAD4-478D-8F3A-296FFCB799F9}"/>
          </ac:spMkLst>
        </pc:spChg>
      </pc:sldChg>
      <pc:sldChg chg="del">
        <pc:chgData name="Meyer Raphael (PAR-ES)" userId="79615dfe-ed48-4e74-a40f-4f7b034c1c27" providerId="ADAL" clId="{4CBE23F9-C8E6-4C37-B105-84FCD3DBA28A}" dt="2021-04-22T06:49:45.111" v="68" actId="2696"/>
        <pc:sldMkLst>
          <pc:docMk/>
          <pc:sldMk cId="3784104885" sldId="346"/>
        </pc:sldMkLst>
      </pc:sldChg>
      <pc:sldChg chg="del">
        <pc:chgData name="Meyer Raphael (PAR-ES)" userId="79615dfe-ed48-4e74-a40f-4f7b034c1c27" providerId="ADAL" clId="{4CBE23F9-C8E6-4C37-B105-84FCD3DBA28A}" dt="2021-04-22T06:51:26.178" v="81" actId="2696"/>
        <pc:sldMkLst>
          <pc:docMk/>
          <pc:sldMk cId="502819407" sldId="347"/>
        </pc:sldMkLst>
      </pc:sldChg>
      <pc:sldChg chg="addSp delSp modSp add mod ord">
        <pc:chgData name="Meyer Raphael (PAR-ES)" userId="79615dfe-ed48-4e74-a40f-4f7b034c1c27" providerId="ADAL" clId="{4CBE23F9-C8E6-4C37-B105-84FCD3DBA28A}" dt="2021-04-22T06:50:07.336" v="71"/>
        <pc:sldMkLst>
          <pc:docMk/>
          <pc:sldMk cId="3794750395" sldId="348"/>
        </pc:sldMkLst>
        <pc:spChg chg="mod">
          <ac:chgData name="Meyer Raphael (PAR-ES)" userId="79615dfe-ed48-4e74-a40f-4f7b034c1c27" providerId="ADAL" clId="{4CBE23F9-C8E6-4C37-B105-84FCD3DBA28A}" dt="2021-04-22T06:49:05.323" v="63"/>
          <ac:spMkLst>
            <pc:docMk/>
            <pc:sldMk cId="3794750395" sldId="348"/>
            <ac:spMk id="2" creationId="{A2DC317F-F1F4-4624-8FC1-3B68C1DBB3DA}"/>
          </ac:spMkLst>
        </pc:spChg>
        <pc:spChg chg="del">
          <ac:chgData name="Meyer Raphael (PAR-ES)" userId="79615dfe-ed48-4e74-a40f-4f7b034c1c27" providerId="ADAL" clId="{4CBE23F9-C8E6-4C37-B105-84FCD3DBA28A}" dt="2021-04-22T06:48:42.423" v="61" actId="478"/>
          <ac:spMkLst>
            <pc:docMk/>
            <pc:sldMk cId="3794750395" sldId="348"/>
            <ac:spMk id="7" creationId="{BA3F9A72-0541-4D1F-8CD8-1C2B8074FA1B}"/>
          </ac:spMkLst>
        </pc:spChg>
        <pc:spChg chg="mod">
          <ac:chgData name="Meyer Raphael (PAR-ES)" userId="79615dfe-ed48-4e74-a40f-4f7b034c1c27" providerId="ADAL" clId="{4CBE23F9-C8E6-4C37-B105-84FCD3DBA28A}" dt="2021-04-22T06:49:23.982" v="66" actId="14100"/>
          <ac:spMkLst>
            <pc:docMk/>
            <pc:sldMk cId="3794750395" sldId="348"/>
            <ac:spMk id="8" creationId="{5857C2A1-2CB8-4D4A-AEFD-E809BF73D04F}"/>
          </ac:spMkLst>
        </pc:spChg>
        <pc:spChg chg="del">
          <ac:chgData name="Meyer Raphael (PAR-ES)" userId="79615dfe-ed48-4e74-a40f-4f7b034c1c27" providerId="ADAL" clId="{4CBE23F9-C8E6-4C37-B105-84FCD3DBA28A}" dt="2021-04-22T06:48:42.423" v="61" actId="478"/>
          <ac:spMkLst>
            <pc:docMk/>
            <pc:sldMk cId="3794750395" sldId="348"/>
            <ac:spMk id="9" creationId="{B6990B61-32B2-4ADC-BF01-EDF7B4080F97}"/>
          </ac:spMkLst>
        </pc:spChg>
        <pc:spChg chg="mod">
          <ac:chgData name="Meyer Raphael (PAR-ES)" userId="79615dfe-ed48-4e74-a40f-4f7b034c1c27" providerId="ADAL" clId="{4CBE23F9-C8E6-4C37-B105-84FCD3DBA28A}" dt="2021-04-22T06:49:13.419" v="64"/>
          <ac:spMkLst>
            <pc:docMk/>
            <pc:sldMk cId="3794750395" sldId="348"/>
            <ac:spMk id="10" creationId="{077DFD58-E5EE-4B68-9325-D935DB04DD40}"/>
          </ac:spMkLst>
        </pc:spChg>
        <pc:spChg chg="del">
          <ac:chgData name="Meyer Raphael (PAR-ES)" userId="79615dfe-ed48-4e74-a40f-4f7b034c1c27" providerId="ADAL" clId="{4CBE23F9-C8E6-4C37-B105-84FCD3DBA28A}" dt="2021-04-22T06:48:42.423" v="61" actId="478"/>
          <ac:spMkLst>
            <pc:docMk/>
            <pc:sldMk cId="3794750395" sldId="348"/>
            <ac:spMk id="17" creationId="{785E740C-F94A-4208-8DFD-63A603C16577}"/>
          </ac:spMkLst>
        </pc:spChg>
        <pc:spChg chg="add mod">
          <ac:chgData name="Meyer Raphael (PAR-ES)" userId="79615dfe-ed48-4e74-a40f-4f7b034c1c27" providerId="ADAL" clId="{4CBE23F9-C8E6-4C37-B105-84FCD3DBA28A}" dt="2021-04-22T06:48:55.252" v="62"/>
          <ac:spMkLst>
            <pc:docMk/>
            <pc:sldMk cId="3794750395" sldId="348"/>
            <ac:spMk id="21" creationId="{3FE6CB08-DCA1-458E-A8F3-DBCC83F762F4}"/>
          </ac:spMkLst>
        </pc:spChg>
        <pc:spChg chg="add mod">
          <ac:chgData name="Meyer Raphael (PAR-ES)" userId="79615dfe-ed48-4e74-a40f-4f7b034c1c27" providerId="ADAL" clId="{4CBE23F9-C8E6-4C37-B105-84FCD3DBA28A}" dt="2021-04-22T06:48:55.252" v="62"/>
          <ac:spMkLst>
            <pc:docMk/>
            <pc:sldMk cId="3794750395" sldId="348"/>
            <ac:spMk id="22" creationId="{B414B5C7-1B5D-42D8-B234-E44D520961F2}"/>
          </ac:spMkLst>
        </pc:spChg>
        <pc:spChg chg="add mod">
          <ac:chgData name="Meyer Raphael (PAR-ES)" userId="79615dfe-ed48-4e74-a40f-4f7b034c1c27" providerId="ADAL" clId="{4CBE23F9-C8E6-4C37-B105-84FCD3DBA28A}" dt="2021-04-22T06:48:55.252" v="62"/>
          <ac:spMkLst>
            <pc:docMk/>
            <pc:sldMk cId="3794750395" sldId="348"/>
            <ac:spMk id="23" creationId="{797933D9-1ADD-4C56-9A1F-5805185D5FB3}"/>
          </ac:spMkLst>
        </pc:spChg>
        <pc:spChg chg="add mod">
          <ac:chgData name="Meyer Raphael (PAR-ES)" userId="79615dfe-ed48-4e74-a40f-4f7b034c1c27" providerId="ADAL" clId="{4CBE23F9-C8E6-4C37-B105-84FCD3DBA28A}" dt="2021-04-22T06:48:55.252" v="62"/>
          <ac:spMkLst>
            <pc:docMk/>
            <pc:sldMk cId="3794750395" sldId="348"/>
            <ac:spMk id="25" creationId="{FC07B857-4CD8-4E21-A1D6-54E103DA2404}"/>
          </ac:spMkLst>
        </pc:spChg>
        <pc:spChg chg="del">
          <ac:chgData name="Meyer Raphael (PAR-ES)" userId="79615dfe-ed48-4e74-a40f-4f7b034c1c27" providerId="ADAL" clId="{4CBE23F9-C8E6-4C37-B105-84FCD3DBA28A}" dt="2021-04-22T06:48:42.423" v="61" actId="478"/>
          <ac:spMkLst>
            <pc:docMk/>
            <pc:sldMk cId="3794750395" sldId="348"/>
            <ac:spMk id="26" creationId="{BFD498B5-D73E-4C8A-9FAF-B3547647538C}"/>
          </ac:spMkLst>
        </pc:spChg>
        <pc:spChg chg="mod">
          <ac:chgData name="Meyer Raphael (PAR-ES)" userId="79615dfe-ed48-4e74-a40f-4f7b034c1c27" providerId="ADAL" clId="{4CBE23F9-C8E6-4C37-B105-84FCD3DBA28A}" dt="2021-04-22T06:49:35.849" v="67"/>
          <ac:spMkLst>
            <pc:docMk/>
            <pc:sldMk cId="3794750395" sldId="348"/>
            <ac:spMk id="27" creationId="{46A6B042-39EE-4A58-BBAA-13D52264B660}"/>
          </ac:spMkLst>
        </pc:spChg>
        <pc:spChg chg="add del mod">
          <ac:chgData name="Meyer Raphael (PAR-ES)" userId="79615dfe-ed48-4e74-a40f-4f7b034c1c27" providerId="ADAL" clId="{4CBE23F9-C8E6-4C37-B105-84FCD3DBA28A}" dt="2021-04-22T06:50:07.336" v="71"/>
          <ac:spMkLst>
            <pc:docMk/>
            <pc:sldMk cId="3794750395" sldId="348"/>
            <ac:spMk id="33" creationId="{57C51D98-9777-41F0-9E85-CBC2977C4FE0}"/>
          </ac:spMkLst>
        </pc:spChg>
        <pc:spChg chg="add del mod">
          <ac:chgData name="Meyer Raphael (PAR-ES)" userId="79615dfe-ed48-4e74-a40f-4f7b034c1c27" providerId="ADAL" clId="{4CBE23F9-C8E6-4C37-B105-84FCD3DBA28A}" dt="2021-04-22T06:50:07.336" v="71"/>
          <ac:spMkLst>
            <pc:docMk/>
            <pc:sldMk cId="3794750395" sldId="348"/>
            <ac:spMk id="36" creationId="{E4B5B6FE-D4FA-4D05-92AE-F94E7DD5EBEF}"/>
          </ac:spMkLst>
        </pc:spChg>
        <pc:spChg chg="add del mod">
          <ac:chgData name="Meyer Raphael (PAR-ES)" userId="79615dfe-ed48-4e74-a40f-4f7b034c1c27" providerId="ADAL" clId="{4CBE23F9-C8E6-4C37-B105-84FCD3DBA28A}" dt="2021-04-22T06:50:07.336" v="71"/>
          <ac:spMkLst>
            <pc:docMk/>
            <pc:sldMk cId="3794750395" sldId="348"/>
            <ac:spMk id="37" creationId="{1E8D3532-0AA1-4325-B895-B990AFFD34B7}"/>
          </ac:spMkLst>
        </pc:spChg>
        <pc:spChg chg="add del mod">
          <ac:chgData name="Meyer Raphael (PAR-ES)" userId="79615dfe-ed48-4e74-a40f-4f7b034c1c27" providerId="ADAL" clId="{4CBE23F9-C8E6-4C37-B105-84FCD3DBA28A}" dt="2021-04-22T06:50:07.336" v="71"/>
          <ac:spMkLst>
            <pc:docMk/>
            <pc:sldMk cId="3794750395" sldId="348"/>
            <ac:spMk id="38" creationId="{1B7488BE-69AD-45CF-81B3-201225A71794}"/>
          </ac:spMkLst>
        </pc:spChg>
      </pc:sldChg>
      <pc:sldChg chg="addSp delSp modSp add mod ord">
        <pc:chgData name="Meyer Raphael (PAR-ES)" userId="79615dfe-ed48-4e74-a40f-4f7b034c1c27" providerId="ADAL" clId="{4CBE23F9-C8E6-4C37-B105-84FCD3DBA28A}" dt="2021-04-22T06:51:16.738" v="80" actId="14100"/>
        <pc:sldMkLst>
          <pc:docMk/>
          <pc:sldMk cId="1552181785" sldId="349"/>
        </pc:sldMkLst>
        <pc:spChg chg="mod">
          <ac:chgData name="Meyer Raphael (PAR-ES)" userId="79615dfe-ed48-4e74-a40f-4f7b034c1c27" providerId="ADAL" clId="{4CBE23F9-C8E6-4C37-B105-84FCD3DBA28A}" dt="2021-04-22T06:50:20.183" v="73"/>
          <ac:spMkLst>
            <pc:docMk/>
            <pc:sldMk cId="1552181785" sldId="349"/>
            <ac:spMk id="2" creationId="{A2DC317F-F1F4-4624-8FC1-3B68C1DBB3DA}"/>
          </ac:spMkLst>
        </pc:spChg>
        <pc:spChg chg="del">
          <ac:chgData name="Meyer Raphael (PAR-ES)" userId="79615dfe-ed48-4e74-a40f-4f7b034c1c27" providerId="ADAL" clId="{4CBE23F9-C8E6-4C37-B105-84FCD3DBA28A}" dt="2021-04-22T06:49:54.689" v="69" actId="478"/>
          <ac:spMkLst>
            <pc:docMk/>
            <pc:sldMk cId="1552181785" sldId="349"/>
            <ac:spMk id="7" creationId="{BA3F9A72-0541-4D1F-8CD8-1C2B8074FA1B}"/>
          </ac:spMkLst>
        </pc:spChg>
        <pc:spChg chg="mod">
          <ac:chgData name="Meyer Raphael (PAR-ES)" userId="79615dfe-ed48-4e74-a40f-4f7b034c1c27" providerId="ADAL" clId="{4CBE23F9-C8E6-4C37-B105-84FCD3DBA28A}" dt="2021-04-22T06:50:38.326" v="76" actId="14100"/>
          <ac:spMkLst>
            <pc:docMk/>
            <pc:sldMk cId="1552181785" sldId="349"/>
            <ac:spMk id="8" creationId="{5857C2A1-2CB8-4D4A-AEFD-E809BF73D04F}"/>
          </ac:spMkLst>
        </pc:spChg>
        <pc:spChg chg="del">
          <ac:chgData name="Meyer Raphael (PAR-ES)" userId="79615dfe-ed48-4e74-a40f-4f7b034c1c27" providerId="ADAL" clId="{4CBE23F9-C8E6-4C37-B105-84FCD3DBA28A}" dt="2021-04-22T06:49:54.689" v="69" actId="478"/>
          <ac:spMkLst>
            <pc:docMk/>
            <pc:sldMk cId="1552181785" sldId="349"/>
            <ac:spMk id="9" creationId="{B6990B61-32B2-4ADC-BF01-EDF7B4080F97}"/>
          </ac:spMkLst>
        </pc:spChg>
        <pc:spChg chg="mod">
          <ac:chgData name="Meyer Raphael (PAR-ES)" userId="79615dfe-ed48-4e74-a40f-4f7b034c1c27" providerId="ADAL" clId="{4CBE23F9-C8E6-4C37-B105-84FCD3DBA28A}" dt="2021-04-22T06:50:28.829" v="74"/>
          <ac:spMkLst>
            <pc:docMk/>
            <pc:sldMk cId="1552181785" sldId="349"/>
            <ac:spMk id="10" creationId="{077DFD58-E5EE-4B68-9325-D935DB04DD40}"/>
          </ac:spMkLst>
        </pc:spChg>
        <pc:spChg chg="del">
          <ac:chgData name="Meyer Raphael (PAR-ES)" userId="79615dfe-ed48-4e74-a40f-4f7b034c1c27" providerId="ADAL" clId="{4CBE23F9-C8E6-4C37-B105-84FCD3DBA28A}" dt="2021-04-22T06:49:54.689" v="69" actId="478"/>
          <ac:spMkLst>
            <pc:docMk/>
            <pc:sldMk cId="1552181785" sldId="349"/>
            <ac:spMk id="17" creationId="{785E740C-F94A-4208-8DFD-63A603C16577}"/>
          </ac:spMkLst>
        </pc:spChg>
        <pc:spChg chg="add mod">
          <ac:chgData name="Meyer Raphael (PAR-ES)" userId="79615dfe-ed48-4e74-a40f-4f7b034c1c27" providerId="ADAL" clId="{4CBE23F9-C8E6-4C37-B105-84FCD3DBA28A}" dt="2021-04-22T06:50:10.223" v="72"/>
          <ac:spMkLst>
            <pc:docMk/>
            <pc:sldMk cId="1552181785" sldId="349"/>
            <ac:spMk id="21" creationId="{420947D5-36E6-475F-9F30-99CD5F27038F}"/>
          </ac:spMkLst>
        </pc:spChg>
        <pc:spChg chg="add mod">
          <ac:chgData name="Meyer Raphael (PAR-ES)" userId="79615dfe-ed48-4e74-a40f-4f7b034c1c27" providerId="ADAL" clId="{4CBE23F9-C8E6-4C37-B105-84FCD3DBA28A}" dt="2021-04-22T06:50:10.223" v="72"/>
          <ac:spMkLst>
            <pc:docMk/>
            <pc:sldMk cId="1552181785" sldId="349"/>
            <ac:spMk id="22" creationId="{0028B97E-602F-43F2-979D-8212934922D2}"/>
          </ac:spMkLst>
        </pc:spChg>
        <pc:spChg chg="add mod">
          <ac:chgData name="Meyer Raphael (PAR-ES)" userId="79615dfe-ed48-4e74-a40f-4f7b034c1c27" providerId="ADAL" clId="{4CBE23F9-C8E6-4C37-B105-84FCD3DBA28A}" dt="2021-04-22T06:50:10.223" v="72"/>
          <ac:spMkLst>
            <pc:docMk/>
            <pc:sldMk cId="1552181785" sldId="349"/>
            <ac:spMk id="23" creationId="{3DDDADA2-02D8-4DAF-8382-3EA480520E90}"/>
          </ac:spMkLst>
        </pc:spChg>
        <pc:spChg chg="add mod">
          <ac:chgData name="Meyer Raphael (PAR-ES)" userId="79615dfe-ed48-4e74-a40f-4f7b034c1c27" providerId="ADAL" clId="{4CBE23F9-C8E6-4C37-B105-84FCD3DBA28A}" dt="2021-04-22T06:50:10.223" v="72"/>
          <ac:spMkLst>
            <pc:docMk/>
            <pc:sldMk cId="1552181785" sldId="349"/>
            <ac:spMk id="25" creationId="{25D8EC74-960F-49AE-A9A7-029FA6C0D220}"/>
          </ac:spMkLst>
        </pc:spChg>
        <pc:spChg chg="del">
          <ac:chgData name="Meyer Raphael (PAR-ES)" userId="79615dfe-ed48-4e74-a40f-4f7b034c1c27" providerId="ADAL" clId="{4CBE23F9-C8E6-4C37-B105-84FCD3DBA28A}" dt="2021-04-22T06:49:54.689" v="69" actId="478"/>
          <ac:spMkLst>
            <pc:docMk/>
            <pc:sldMk cId="1552181785" sldId="349"/>
            <ac:spMk id="26" creationId="{BFD498B5-D73E-4C8A-9FAF-B3547647538C}"/>
          </ac:spMkLst>
        </pc:spChg>
        <pc:spChg chg="mod">
          <ac:chgData name="Meyer Raphael (PAR-ES)" userId="79615dfe-ed48-4e74-a40f-4f7b034c1c27" providerId="ADAL" clId="{4CBE23F9-C8E6-4C37-B105-84FCD3DBA28A}" dt="2021-04-22T06:51:16.738" v="80" actId="14100"/>
          <ac:spMkLst>
            <pc:docMk/>
            <pc:sldMk cId="1552181785" sldId="349"/>
            <ac:spMk id="27" creationId="{46A6B042-39EE-4A58-BBAA-13D52264B660}"/>
          </ac:spMkLst>
        </pc:spChg>
      </pc:sldChg>
    </pc:docChg>
  </pc:docChgLst>
  <pc:docChgLst>
    <pc:chgData name="Meyer Raphael (PAR-ES)" userId="79615dfe-ed48-4e74-a40f-4f7b034c1c27" providerId="ADAL" clId="{BC78E0DC-31C5-48CA-8DD7-8730871B0852}"/>
    <pc:docChg chg="custSel addSld delSld modSld sldOrd">
      <pc:chgData name="Meyer Raphael (PAR-ES)" userId="79615dfe-ed48-4e74-a40f-4f7b034c1c27" providerId="ADAL" clId="{BC78E0DC-31C5-48CA-8DD7-8730871B0852}" dt="2021-02-18T08:25:41.061" v="300" actId="2696"/>
      <pc:docMkLst>
        <pc:docMk/>
      </pc:docMkLst>
      <pc:sldChg chg="addSp delSp modSp mod">
        <pc:chgData name="Meyer Raphael (PAR-ES)" userId="79615dfe-ed48-4e74-a40f-4f7b034c1c27" providerId="ADAL" clId="{BC78E0DC-31C5-48CA-8DD7-8730871B0852}" dt="2021-02-18T08:17:57.668" v="166" actId="552"/>
        <pc:sldMkLst>
          <pc:docMk/>
          <pc:sldMk cId="1667945532" sldId="306"/>
        </pc:sldMkLst>
        <pc:spChg chg="mod">
          <ac:chgData name="Meyer Raphael (PAR-ES)" userId="79615dfe-ed48-4e74-a40f-4f7b034c1c27" providerId="ADAL" clId="{BC78E0DC-31C5-48CA-8DD7-8730871B0852}" dt="2021-02-18T08:06:41.629" v="29" actId="20577"/>
          <ac:spMkLst>
            <pc:docMk/>
            <pc:sldMk cId="1667945532" sldId="306"/>
            <ac:spMk id="8" creationId="{5857C2A1-2CB8-4D4A-AEFD-E809BF73D04F}"/>
          </ac:spMkLst>
        </pc:spChg>
        <pc:spChg chg="mod">
          <ac:chgData name="Meyer Raphael (PAR-ES)" userId="79615dfe-ed48-4e74-a40f-4f7b034c1c27" providerId="ADAL" clId="{BC78E0DC-31C5-48CA-8DD7-8730871B0852}" dt="2021-02-18T08:06:31.557" v="27" actId="20577"/>
          <ac:spMkLst>
            <pc:docMk/>
            <pc:sldMk cId="1667945532" sldId="306"/>
            <ac:spMk id="27" creationId="{46A6B042-39EE-4A58-BBAA-13D52264B660}"/>
          </ac:spMkLst>
        </pc:spChg>
        <pc:spChg chg="mod">
          <ac:chgData name="Meyer Raphael (PAR-ES)" userId="79615dfe-ed48-4e74-a40f-4f7b034c1c27" providerId="ADAL" clId="{BC78E0DC-31C5-48CA-8DD7-8730871B0852}" dt="2021-02-18T08:07:01.573" v="37" actId="20577"/>
          <ac:spMkLst>
            <pc:docMk/>
            <pc:sldMk cId="1667945532" sldId="306"/>
            <ac:spMk id="31" creationId="{7491A47D-CAD4-478D-8F3A-296FFCB799F9}"/>
          </ac:spMkLst>
        </pc:spChg>
        <pc:spChg chg="mod">
          <ac:chgData name="Meyer Raphael (PAR-ES)" userId="79615dfe-ed48-4e74-a40f-4f7b034c1c27" providerId="ADAL" clId="{BC78E0DC-31C5-48CA-8DD7-8730871B0852}" dt="2021-02-18T08:03:49.592" v="3" actId="20577"/>
          <ac:spMkLst>
            <pc:docMk/>
            <pc:sldMk cId="1667945532" sldId="306"/>
            <ac:spMk id="32" creationId="{E65DDA4F-7190-4D5B-B875-6818D18C9F6E}"/>
          </ac:spMkLst>
        </pc:spChg>
        <pc:spChg chg="add mod">
          <ac:chgData name="Meyer Raphael (PAR-ES)" userId="79615dfe-ed48-4e74-a40f-4f7b034c1c27" providerId="ADAL" clId="{BC78E0DC-31C5-48CA-8DD7-8730871B0852}" dt="2021-02-18T08:17:57.668" v="166" actId="552"/>
          <ac:spMkLst>
            <pc:docMk/>
            <pc:sldMk cId="1667945532" sldId="306"/>
            <ac:spMk id="33" creationId="{9EBB3871-416B-408E-B57A-A89D014D2D8E}"/>
          </ac:spMkLst>
        </pc:spChg>
        <pc:spChg chg="del mod">
          <ac:chgData name="Meyer Raphael (PAR-ES)" userId="79615dfe-ed48-4e74-a40f-4f7b034c1c27" providerId="ADAL" clId="{BC78E0DC-31C5-48CA-8DD7-8730871B0852}" dt="2021-02-18T08:17:49.673" v="165" actId="478"/>
          <ac:spMkLst>
            <pc:docMk/>
            <pc:sldMk cId="1667945532" sldId="306"/>
            <ac:spMk id="36" creationId="{27098D61-DF6B-46BC-A4A9-43CB29665BFF}"/>
          </ac:spMkLst>
        </pc:spChg>
        <pc:spChg chg="mod">
          <ac:chgData name="Meyer Raphael (PAR-ES)" userId="79615dfe-ed48-4e74-a40f-4f7b034c1c27" providerId="ADAL" clId="{BC78E0DC-31C5-48CA-8DD7-8730871B0852}" dt="2021-02-18T08:17:57.668" v="166" actId="552"/>
          <ac:spMkLst>
            <pc:docMk/>
            <pc:sldMk cId="1667945532" sldId="306"/>
            <ac:spMk id="37" creationId="{16628D91-C37D-41C8-A84A-DDEB3E2C1246}"/>
          </ac:spMkLst>
        </pc:spChg>
      </pc:sldChg>
      <pc:sldChg chg="del">
        <pc:chgData name="Meyer Raphael (PAR-ES)" userId="79615dfe-ed48-4e74-a40f-4f7b034c1c27" providerId="ADAL" clId="{BC78E0DC-31C5-48CA-8DD7-8730871B0852}" dt="2021-02-18T08:20:14.623" v="178" actId="2696"/>
        <pc:sldMkLst>
          <pc:docMk/>
          <pc:sldMk cId="2900013276" sldId="328"/>
        </pc:sldMkLst>
      </pc:sldChg>
      <pc:sldChg chg="del">
        <pc:chgData name="Meyer Raphael (PAR-ES)" userId="79615dfe-ed48-4e74-a40f-4f7b034c1c27" providerId="ADAL" clId="{BC78E0DC-31C5-48CA-8DD7-8730871B0852}" dt="2021-02-18T08:25:41.061" v="300" actId="2696"/>
        <pc:sldMkLst>
          <pc:docMk/>
          <pc:sldMk cId="1718428447" sldId="329"/>
        </pc:sldMkLst>
      </pc:sldChg>
      <pc:sldChg chg="addSp delSp modSp add ord">
        <pc:chgData name="Meyer Raphael (PAR-ES)" userId="79615dfe-ed48-4e74-a40f-4f7b034c1c27" providerId="ADAL" clId="{BC78E0DC-31C5-48CA-8DD7-8730871B0852}" dt="2021-02-18T08:25:23.403" v="299" actId="552"/>
        <pc:sldMkLst>
          <pc:docMk/>
          <pc:sldMk cId="1861201491" sldId="330"/>
        </pc:sldMkLst>
        <pc:spChg chg="mod">
          <ac:chgData name="Meyer Raphael (PAR-ES)" userId="79615dfe-ed48-4e74-a40f-4f7b034c1c27" providerId="ADAL" clId="{BC78E0DC-31C5-48CA-8DD7-8730871B0852}" dt="2021-02-18T08:22:05.626" v="183"/>
          <ac:spMkLst>
            <pc:docMk/>
            <pc:sldMk cId="1861201491" sldId="330"/>
            <ac:spMk id="2" creationId="{A2DC317F-F1F4-4624-8FC1-3B68C1DBB3DA}"/>
          </ac:spMkLst>
        </pc:spChg>
        <pc:spChg chg="del">
          <ac:chgData name="Meyer Raphael (PAR-ES)" userId="79615dfe-ed48-4e74-a40f-4f7b034c1c27" providerId="ADAL" clId="{BC78E0DC-31C5-48CA-8DD7-8730871B0852}" dt="2021-02-18T08:20:39.664" v="179" actId="478"/>
          <ac:spMkLst>
            <pc:docMk/>
            <pc:sldMk cId="1861201491" sldId="330"/>
            <ac:spMk id="7" creationId="{BA3F9A72-0541-4D1F-8CD8-1C2B8074FA1B}"/>
          </ac:spMkLst>
        </pc:spChg>
        <pc:spChg chg="del">
          <ac:chgData name="Meyer Raphael (PAR-ES)" userId="79615dfe-ed48-4e74-a40f-4f7b034c1c27" providerId="ADAL" clId="{BC78E0DC-31C5-48CA-8DD7-8730871B0852}" dt="2021-02-18T08:20:39.664" v="179" actId="478"/>
          <ac:spMkLst>
            <pc:docMk/>
            <pc:sldMk cId="1861201491" sldId="330"/>
            <ac:spMk id="8" creationId="{5857C2A1-2CB8-4D4A-AEFD-E809BF73D04F}"/>
          </ac:spMkLst>
        </pc:spChg>
        <pc:spChg chg="del">
          <ac:chgData name="Meyer Raphael (PAR-ES)" userId="79615dfe-ed48-4e74-a40f-4f7b034c1c27" providerId="ADAL" clId="{BC78E0DC-31C5-48CA-8DD7-8730871B0852}" dt="2021-02-18T08:20:39.664" v="179" actId="478"/>
          <ac:spMkLst>
            <pc:docMk/>
            <pc:sldMk cId="1861201491" sldId="330"/>
            <ac:spMk id="9" creationId="{B6990B61-32B2-4ADC-BF01-EDF7B4080F97}"/>
          </ac:spMkLst>
        </pc:spChg>
        <pc:spChg chg="mod">
          <ac:chgData name="Meyer Raphael (PAR-ES)" userId="79615dfe-ed48-4e74-a40f-4f7b034c1c27" providerId="ADAL" clId="{BC78E0DC-31C5-48CA-8DD7-8730871B0852}" dt="2021-02-18T08:22:14.714" v="184"/>
          <ac:spMkLst>
            <pc:docMk/>
            <pc:sldMk cId="1861201491" sldId="330"/>
            <ac:spMk id="10" creationId="{077DFD58-E5EE-4B68-9325-D935DB04DD40}"/>
          </ac:spMkLst>
        </pc:spChg>
        <pc:spChg chg="del">
          <ac:chgData name="Meyer Raphael (PAR-ES)" userId="79615dfe-ed48-4e74-a40f-4f7b034c1c27" providerId="ADAL" clId="{BC78E0DC-31C5-48CA-8DD7-8730871B0852}" dt="2021-02-18T08:20:39.664" v="179" actId="478"/>
          <ac:spMkLst>
            <pc:docMk/>
            <pc:sldMk cId="1861201491" sldId="330"/>
            <ac:spMk id="17" creationId="{785E740C-F94A-4208-8DFD-63A603C16577}"/>
          </ac:spMkLst>
        </pc:spChg>
        <pc:spChg chg="del">
          <ac:chgData name="Meyer Raphael (PAR-ES)" userId="79615dfe-ed48-4e74-a40f-4f7b034c1c27" providerId="ADAL" clId="{BC78E0DC-31C5-48CA-8DD7-8730871B0852}" dt="2021-02-18T08:20:39.664" v="179" actId="478"/>
          <ac:spMkLst>
            <pc:docMk/>
            <pc:sldMk cId="1861201491" sldId="330"/>
            <ac:spMk id="26" creationId="{BFD498B5-D73E-4C8A-9FAF-B3547647538C}"/>
          </ac:spMkLst>
        </pc:spChg>
        <pc:spChg chg="mod">
          <ac:chgData name="Meyer Raphael (PAR-ES)" userId="79615dfe-ed48-4e74-a40f-4f7b034c1c27" providerId="ADAL" clId="{BC78E0DC-31C5-48CA-8DD7-8730871B0852}" dt="2021-02-18T08:22:31" v="187" actId="14100"/>
          <ac:spMkLst>
            <pc:docMk/>
            <pc:sldMk cId="1861201491" sldId="330"/>
            <ac:spMk id="27" creationId="{46A6B042-39EE-4A58-BBAA-13D52264B660}"/>
          </ac:spMkLst>
        </pc:spChg>
        <pc:spChg chg="del">
          <ac:chgData name="Meyer Raphael (PAR-ES)" userId="79615dfe-ed48-4e74-a40f-4f7b034c1c27" providerId="ADAL" clId="{BC78E0DC-31C5-48CA-8DD7-8730871B0852}" dt="2021-02-18T08:22:51.188" v="190" actId="478"/>
          <ac:spMkLst>
            <pc:docMk/>
            <pc:sldMk cId="1861201491" sldId="330"/>
            <ac:spMk id="33" creationId="{9EBB3871-416B-408E-B57A-A89D014D2D8E}"/>
          </ac:spMkLst>
        </pc:spChg>
        <pc:spChg chg="add mod">
          <ac:chgData name="Meyer Raphael (PAR-ES)" userId="79615dfe-ed48-4e74-a40f-4f7b034c1c27" providerId="ADAL" clId="{BC78E0DC-31C5-48CA-8DD7-8730871B0852}" dt="2021-02-18T08:21:38.819" v="182" actId="20577"/>
          <ac:spMkLst>
            <pc:docMk/>
            <pc:sldMk cId="1861201491" sldId="330"/>
            <ac:spMk id="36" creationId="{019CCEBD-CCD0-4C25-BDBA-42ADD3F60BD3}"/>
          </ac:spMkLst>
        </pc:spChg>
        <pc:spChg chg="del mod">
          <ac:chgData name="Meyer Raphael (PAR-ES)" userId="79615dfe-ed48-4e74-a40f-4f7b034c1c27" providerId="ADAL" clId="{BC78E0DC-31C5-48CA-8DD7-8730871B0852}" dt="2021-02-18T08:22:43.318" v="189" actId="478"/>
          <ac:spMkLst>
            <pc:docMk/>
            <pc:sldMk cId="1861201491" sldId="330"/>
            <ac:spMk id="37" creationId="{16628D91-C37D-41C8-A84A-DDEB3E2C1246}"/>
          </ac:spMkLst>
        </pc:spChg>
        <pc:spChg chg="add">
          <ac:chgData name="Meyer Raphael (PAR-ES)" userId="79615dfe-ed48-4e74-a40f-4f7b034c1c27" providerId="ADAL" clId="{BC78E0DC-31C5-48CA-8DD7-8730871B0852}" dt="2021-02-18T08:20:52.427" v="180"/>
          <ac:spMkLst>
            <pc:docMk/>
            <pc:sldMk cId="1861201491" sldId="330"/>
            <ac:spMk id="38" creationId="{C5DEC9F0-DC62-47FE-AF70-FDC22F6CB4B6}"/>
          </ac:spMkLst>
        </pc:spChg>
        <pc:spChg chg="add">
          <ac:chgData name="Meyer Raphael (PAR-ES)" userId="79615dfe-ed48-4e74-a40f-4f7b034c1c27" providerId="ADAL" clId="{BC78E0DC-31C5-48CA-8DD7-8730871B0852}" dt="2021-02-18T08:20:52.427" v="180"/>
          <ac:spMkLst>
            <pc:docMk/>
            <pc:sldMk cId="1861201491" sldId="330"/>
            <ac:spMk id="39" creationId="{D8D03714-81C3-4A1C-A9F5-2F3F1D3D0572}"/>
          </ac:spMkLst>
        </pc:spChg>
        <pc:spChg chg="add">
          <ac:chgData name="Meyer Raphael (PAR-ES)" userId="79615dfe-ed48-4e74-a40f-4f7b034c1c27" providerId="ADAL" clId="{BC78E0DC-31C5-48CA-8DD7-8730871B0852}" dt="2021-02-18T08:20:52.427" v="180"/>
          <ac:spMkLst>
            <pc:docMk/>
            <pc:sldMk cId="1861201491" sldId="330"/>
            <ac:spMk id="40" creationId="{85FBCE1D-FD06-40AC-94DE-D4D7E9BE4B0C}"/>
          </ac:spMkLst>
        </pc:spChg>
        <pc:spChg chg="add">
          <ac:chgData name="Meyer Raphael (PAR-ES)" userId="79615dfe-ed48-4e74-a40f-4f7b034c1c27" providerId="ADAL" clId="{BC78E0DC-31C5-48CA-8DD7-8730871B0852}" dt="2021-02-18T08:20:52.427" v="180"/>
          <ac:spMkLst>
            <pc:docMk/>
            <pc:sldMk cId="1861201491" sldId="330"/>
            <ac:spMk id="41" creationId="{47044D9C-7715-40D4-BCAE-6828109D5DF0}"/>
          </ac:spMkLst>
        </pc:spChg>
        <pc:spChg chg="add mod">
          <ac:chgData name="Meyer Raphael (PAR-ES)" userId="79615dfe-ed48-4e74-a40f-4f7b034c1c27" providerId="ADAL" clId="{BC78E0DC-31C5-48CA-8DD7-8730871B0852}" dt="2021-02-18T08:25:23.403" v="299" actId="552"/>
          <ac:spMkLst>
            <pc:docMk/>
            <pc:sldMk cId="1861201491" sldId="330"/>
            <ac:spMk id="42" creationId="{47F15649-8108-4CA2-903C-B78AA3E2D53B}"/>
          </ac:spMkLst>
        </pc:spChg>
        <pc:spChg chg="add del mod">
          <ac:chgData name="Meyer Raphael (PAR-ES)" userId="79615dfe-ed48-4e74-a40f-4f7b034c1c27" providerId="ADAL" clId="{BC78E0DC-31C5-48CA-8DD7-8730871B0852}" dt="2021-02-18T08:25:14.871" v="298" actId="478"/>
          <ac:spMkLst>
            <pc:docMk/>
            <pc:sldMk cId="1861201491" sldId="330"/>
            <ac:spMk id="43" creationId="{6B37B674-625E-4AC7-9F27-89CCF8DC86A4}"/>
          </ac:spMkLst>
        </pc:spChg>
        <pc:spChg chg="add mod">
          <ac:chgData name="Meyer Raphael (PAR-ES)" userId="79615dfe-ed48-4e74-a40f-4f7b034c1c27" providerId="ADAL" clId="{BC78E0DC-31C5-48CA-8DD7-8730871B0852}" dt="2021-02-18T08:25:23.403" v="299" actId="552"/>
          <ac:spMkLst>
            <pc:docMk/>
            <pc:sldMk cId="1861201491" sldId="330"/>
            <ac:spMk id="44" creationId="{E25DC2A8-79DA-4BEB-AEB2-0BD5A64FC759}"/>
          </ac:spMkLst>
        </pc:spChg>
      </pc:sldChg>
      <pc:sldChg chg="addSp delSp modSp add ord">
        <pc:chgData name="Meyer Raphael (PAR-ES)" userId="79615dfe-ed48-4e74-a40f-4f7b034c1c27" providerId="ADAL" clId="{BC78E0DC-31C5-48CA-8DD7-8730871B0852}" dt="2021-02-18T08:19:54.206" v="177" actId="20577"/>
        <pc:sldMkLst>
          <pc:docMk/>
          <pc:sldMk cId="1241728994" sldId="331"/>
        </pc:sldMkLst>
        <pc:spChg chg="mod">
          <ac:chgData name="Meyer Raphael (PAR-ES)" userId="79615dfe-ed48-4e74-a40f-4f7b034c1c27" providerId="ADAL" clId="{BC78E0DC-31C5-48CA-8DD7-8730871B0852}" dt="2021-02-18T08:19:18.217" v="173"/>
          <ac:spMkLst>
            <pc:docMk/>
            <pc:sldMk cId="1241728994" sldId="331"/>
            <ac:spMk id="2" creationId="{A2DC317F-F1F4-4624-8FC1-3B68C1DBB3DA}"/>
          </ac:spMkLst>
        </pc:spChg>
        <pc:spChg chg="del">
          <ac:chgData name="Meyer Raphael (PAR-ES)" userId="79615dfe-ed48-4e74-a40f-4f7b034c1c27" providerId="ADAL" clId="{BC78E0DC-31C5-48CA-8DD7-8730871B0852}" dt="2021-02-18T08:18:55.057" v="171" actId="478"/>
          <ac:spMkLst>
            <pc:docMk/>
            <pc:sldMk cId="1241728994" sldId="331"/>
            <ac:spMk id="7" creationId="{BA3F9A72-0541-4D1F-8CD8-1C2B8074FA1B}"/>
          </ac:spMkLst>
        </pc:spChg>
        <pc:spChg chg="del">
          <ac:chgData name="Meyer Raphael (PAR-ES)" userId="79615dfe-ed48-4e74-a40f-4f7b034c1c27" providerId="ADAL" clId="{BC78E0DC-31C5-48CA-8DD7-8730871B0852}" dt="2021-02-18T08:18:55.057" v="171" actId="478"/>
          <ac:spMkLst>
            <pc:docMk/>
            <pc:sldMk cId="1241728994" sldId="331"/>
            <ac:spMk id="8" creationId="{5857C2A1-2CB8-4D4A-AEFD-E809BF73D04F}"/>
          </ac:spMkLst>
        </pc:spChg>
        <pc:spChg chg="del">
          <ac:chgData name="Meyer Raphael (PAR-ES)" userId="79615dfe-ed48-4e74-a40f-4f7b034c1c27" providerId="ADAL" clId="{BC78E0DC-31C5-48CA-8DD7-8730871B0852}" dt="2021-02-18T08:18:55.057" v="171" actId="478"/>
          <ac:spMkLst>
            <pc:docMk/>
            <pc:sldMk cId="1241728994" sldId="331"/>
            <ac:spMk id="9" creationId="{B6990B61-32B2-4ADC-BF01-EDF7B4080F97}"/>
          </ac:spMkLst>
        </pc:spChg>
        <pc:spChg chg="mod">
          <ac:chgData name="Meyer Raphael (PAR-ES)" userId="79615dfe-ed48-4e74-a40f-4f7b034c1c27" providerId="ADAL" clId="{BC78E0DC-31C5-48CA-8DD7-8730871B0852}" dt="2021-02-18T08:19:25.980" v="174"/>
          <ac:spMkLst>
            <pc:docMk/>
            <pc:sldMk cId="1241728994" sldId="331"/>
            <ac:spMk id="10" creationId="{077DFD58-E5EE-4B68-9325-D935DB04DD40}"/>
          </ac:spMkLst>
        </pc:spChg>
        <pc:spChg chg="del">
          <ac:chgData name="Meyer Raphael (PAR-ES)" userId="79615dfe-ed48-4e74-a40f-4f7b034c1c27" providerId="ADAL" clId="{BC78E0DC-31C5-48CA-8DD7-8730871B0852}" dt="2021-02-18T08:18:55.057" v="171" actId="478"/>
          <ac:spMkLst>
            <pc:docMk/>
            <pc:sldMk cId="1241728994" sldId="331"/>
            <ac:spMk id="17" creationId="{785E740C-F94A-4208-8DFD-63A603C16577}"/>
          </ac:spMkLst>
        </pc:spChg>
        <pc:spChg chg="del">
          <ac:chgData name="Meyer Raphael (PAR-ES)" userId="79615dfe-ed48-4e74-a40f-4f7b034c1c27" providerId="ADAL" clId="{BC78E0DC-31C5-48CA-8DD7-8730871B0852}" dt="2021-02-18T08:18:55.057" v="171" actId="478"/>
          <ac:spMkLst>
            <pc:docMk/>
            <pc:sldMk cId="1241728994" sldId="331"/>
            <ac:spMk id="26" creationId="{BFD498B5-D73E-4C8A-9FAF-B3547647538C}"/>
          </ac:spMkLst>
        </pc:spChg>
        <pc:spChg chg="mod">
          <ac:chgData name="Meyer Raphael (PAR-ES)" userId="79615dfe-ed48-4e74-a40f-4f7b034c1c27" providerId="ADAL" clId="{BC78E0DC-31C5-48CA-8DD7-8730871B0852}" dt="2021-02-18T08:19:38.905" v="175"/>
          <ac:spMkLst>
            <pc:docMk/>
            <pc:sldMk cId="1241728994" sldId="331"/>
            <ac:spMk id="27" creationId="{46A6B042-39EE-4A58-BBAA-13D52264B660}"/>
          </ac:spMkLst>
        </pc:spChg>
        <pc:spChg chg="add mod">
          <ac:chgData name="Meyer Raphael (PAR-ES)" userId="79615dfe-ed48-4e74-a40f-4f7b034c1c27" providerId="ADAL" clId="{BC78E0DC-31C5-48CA-8DD7-8730871B0852}" dt="2021-02-18T08:19:54.206" v="177" actId="20577"/>
          <ac:spMkLst>
            <pc:docMk/>
            <pc:sldMk cId="1241728994" sldId="331"/>
            <ac:spMk id="36" creationId="{33DFBF40-E028-4BE5-A8F8-3C3D31D9C419}"/>
          </ac:spMkLst>
        </pc:spChg>
        <pc:spChg chg="add">
          <ac:chgData name="Meyer Raphael (PAR-ES)" userId="79615dfe-ed48-4e74-a40f-4f7b034c1c27" providerId="ADAL" clId="{BC78E0DC-31C5-48CA-8DD7-8730871B0852}" dt="2021-02-18T08:19:08.053" v="172"/>
          <ac:spMkLst>
            <pc:docMk/>
            <pc:sldMk cId="1241728994" sldId="331"/>
            <ac:spMk id="38" creationId="{8D5C6F6D-7891-46C5-9EEE-AC4359F38786}"/>
          </ac:spMkLst>
        </pc:spChg>
        <pc:spChg chg="add">
          <ac:chgData name="Meyer Raphael (PAR-ES)" userId="79615dfe-ed48-4e74-a40f-4f7b034c1c27" providerId="ADAL" clId="{BC78E0DC-31C5-48CA-8DD7-8730871B0852}" dt="2021-02-18T08:19:08.053" v="172"/>
          <ac:spMkLst>
            <pc:docMk/>
            <pc:sldMk cId="1241728994" sldId="331"/>
            <ac:spMk id="39" creationId="{6DA8F198-5FE1-47D8-9BCF-4BD6AAC6B336}"/>
          </ac:spMkLst>
        </pc:spChg>
        <pc:spChg chg="add">
          <ac:chgData name="Meyer Raphael (PAR-ES)" userId="79615dfe-ed48-4e74-a40f-4f7b034c1c27" providerId="ADAL" clId="{BC78E0DC-31C5-48CA-8DD7-8730871B0852}" dt="2021-02-18T08:19:08.053" v="172"/>
          <ac:spMkLst>
            <pc:docMk/>
            <pc:sldMk cId="1241728994" sldId="331"/>
            <ac:spMk id="40" creationId="{9E456EF7-A6CB-4B58-AD31-BD9D25B969CC}"/>
          </ac:spMkLst>
        </pc:spChg>
        <pc:spChg chg="add">
          <ac:chgData name="Meyer Raphael (PAR-ES)" userId="79615dfe-ed48-4e74-a40f-4f7b034c1c27" providerId="ADAL" clId="{BC78E0DC-31C5-48CA-8DD7-8730871B0852}" dt="2021-02-18T08:19:08.053" v="172"/>
          <ac:spMkLst>
            <pc:docMk/>
            <pc:sldMk cId="1241728994" sldId="331"/>
            <ac:spMk id="41" creationId="{6908FED6-CF40-4DFE-AFA3-C40F851A8131}"/>
          </ac:spMkLst>
        </pc:spChg>
      </pc:sldChg>
    </pc:docChg>
  </pc:docChgLst>
  <pc:docChgLst>
    <pc:chgData name="Meyer Raphael (PAR-ES)" userId="79615dfe-ed48-4e74-a40f-4f7b034c1c27" providerId="ADAL" clId="{7F8D466B-DE03-4F86-BE8A-B275E5E71DB3}"/>
    <pc:docChg chg="modSld">
      <pc:chgData name="Meyer Raphael (PAR-ES)" userId="79615dfe-ed48-4e74-a40f-4f7b034c1c27" providerId="ADAL" clId="{7F8D466B-DE03-4F86-BE8A-B275E5E71DB3}" dt="2021-07-01T09:00:43.208" v="115" actId="1037"/>
      <pc:docMkLst>
        <pc:docMk/>
      </pc:docMkLst>
      <pc:sldChg chg="modSp mod">
        <pc:chgData name="Meyer Raphael (PAR-ES)" userId="79615dfe-ed48-4e74-a40f-4f7b034c1c27" providerId="ADAL" clId="{7F8D466B-DE03-4F86-BE8A-B275E5E71DB3}" dt="2021-07-01T08:57:17.709" v="60" actId="27918"/>
        <pc:sldMkLst>
          <pc:docMk/>
          <pc:sldMk cId="1495152177" sldId="298"/>
        </pc:sldMkLst>
        <pc:spChg chg="mod">
          <ac:chgData name="Meyer Raphael (PAR-ES)" userId="79615dfe-ed48-4e74-a40f-4f7b034c1c27" providerId="ADAL" clId="{7F8D466B-DE03-4F86-BE8A-B275E5E71DB3}" dt="2021-07-01T08:57:02.041" v="58" actId="1037"/>
          <ac:spMkLst>
            <pc:docMk/>
            <pc:sldMk cId="1495152177" sldId="298"/>
            <ac:spMk id="12" creationId="{970D2C07-63A2-4265-B006-56F685FE80A5}"/>
          </ac:spMkLst>
        </pc:spChg>
        <pc:spChg chg="mod">
          <ac:chgData name="Meyer Raphael (PAR-ES)" userId="79615dfe-ed48-4e74-a40f-4f7b034c1c27" providerId="ADAL" clId="{7F8D466B-DE03-4F86-BE8A-B275E5E71DB3}" dt="2021-07-01T08:57:02.041" v="58" actId="1037"/>
          <ac:spMkLst>
            <pc:docMk/>
            <pc:sldMk cId="1495152177" sldId="298"/>
            <ac:spMk id="13" creationId="{93412675-62AA-41D8-997C-4E877ED953A8}"/>
          </ac:spMkLst>
        </pc:spChg>
        <pc:graphicFrameChg chg="modGraphic">
          <ac:chgData name="Meyer Raphael (PAR-ES)" userId="79615dfe-ed48-4e74-a40f-4f7b034c1c27" providerId="ADAL" clId="{7F8D466B-DE03-4F86-BE8A-B275E5E71DB3}" dt="2021-07-01T08:53:02.197" v="25"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7F8D466B-DE03-4F86-BE8A-B275E5E71DB3}" dt="2021-07-01T08:57:02.041" v="58" actId="1037"/>
          <ac:cxnSpMkLst>
            <pc:docMk/>
            <pc:sldMk cId="1495152177" sldId="298"/>
            <ac:cxnSpMk id="8" creationId="{6F3EB9D3-E612-42D9-859B-1905BD876C26}"/>
          </ac:cxnSpMkLst>
        </pc:cxnChg>
      </pc:sldChg>
      <pc:sldChg chg="modSp mod">
        <pc:chgData name="Meyer Raphael (PAR-ES)" userId="79615dfe-ed48-4e74-a40f-4f7b034c1c27" providerId="ADAL" clId="{7F8D466B-DE03-4F86-BE8A-B275E5E71DB3}" dt="2021-07-01T09:00:43.208" v="115" actId="1037"/>
        <pc:sldMkLst>
          <pc:docMk/>
          <pc:sldMk cId="3590012689" sldId="365"/>
        </pc:sldMkLst>
        <pc:spChg chg="mod">
          <ac:chgData name="Meyer Raphael (PAR-ES)" userId="79615dfe-ed48-4e74-a40f-4f7b034c1c27" providerId="ADAL" clId="{7F8D466B-DE03-4F86-BE8A-B275E5E71DB3}" dt="2021-07-01T09:00:43.208" v="115" actId="1037"/>
          <ac:spMkLst>
            <pc:docMk/>
            <pc:sldMk cId="3590012689" sldId="365"/>
            <ac:spMk id="12" creationId="{970D2C07-63A2-4265-B006-56F685FE80A5}"/>
          </ac:spMkLst>
        </pc:spChg>
        <pc:spChg chg="mod">
          <ac:chgData name="Meyer Raphael (PAR-ES)" userId="79615dfe-ed48-4e74-a40f-4f7b034c1c27" providerId="ADAL" clId="{7F8D466B-DE03-4F86-BE8A-B275E5E71DB3}" dt="2021-07-01T09:00:43.208" v="115" actId="1037"/>
          <ac:spMkLst>
            <pc:docMk/>
            <pc:sldMk cId="3590012689" sldId="365"/>
            <ac:spMk id="13" creationId="{93412675-62AA-41D8-997C-4E877ED953A8}"/>
          </ac:spMkLst>
        </pc:spChg>
        <pc:graphicFrameChg chg="mod modGraphic">
          <ac:chgData name="Meyer Raphael (PAR-ES)" userId="79615dfe-ed48-4e74-a40f-4f7b034c1c27" providerId="ADAL" clId="{7F8D466B-DE03-4F86-BE8A-B275E5E71DB3}" dt="2021-07-01T08:56:14.982" v="40"/>
          <ac:graphicFrameMkLst>
            <pc:docMk/>
            <pc:sldMk cId="3590012689" sldId="365"/>
            <ac:graphicFrameMk id="9" creationId="{E1369C63-C4A7-403B-A03F-B004599F910A}"/>
          </ac:graphicFrameMkLst>
        </pc:graphicFrameChg>
        <pc:cxnChg chg="mod">
          <ac:chgData name="Meyer Raphael (PAR-ES)" userId="79615dfe-ed48-4e74-a40f-4f7b034c1c27" providerId="ADAL" clId="{7F8D466B-DE03-4F86-BE8A-B275E5E71DB3}" dt="2021-07-01T09:00:43.208" v="115" actId="1037"/>
          <ac:cxnSpMkLst>
            <pc:docMk/>
            <pc:sldMk cId="3590012689" sldId="365"/>
            <ac:cxnSpMk id="8" creationId="{6F3EB9D3-E612-42D9-859B-1905BD876C26}"/>
          </ac:cxnSpMkLst>
        </pc:cxnChg>
      </pc:sldChg>
      <pc:sldChg chg="modSp mod">
        <pc:chgData name="Meyer Raphael (PAR-ES)" userId="79615dfe-ed48-4e74-a40f-4f7b034c1c27" providerId="ADAL" clId="{7F8D466B-DE03-4F86-BE8A-B275E5E71DB3}" dt="2021-07-01T09:00:22.168" v="99" actId="27918"/>
        <pc:sldMkLst>
          <pc:docMk/>
          <pc:sldMk cId="689864941" sldId="366"/>
        </pc:sldMkLst>
        <pc:spChg chg="mod">
          <ac:chgData name="Meyer Raphael (PAR-ES)" userId="79615dfe-ed48-4e74-a40f-4f7b034c1c27" providerId="ADAL" clId="{7F8D466B-DE03-4F86-BE8A-B275E5E71DB3}" dt="2021-07-01T09:00:01.531" v="94" actId="1037"/>
          <ac:spMkLst>
            <pc:docMk/>
            <pc:sldMk cId="689864941" sldId="366"/>
            <ac:spMk id="12" creationId="{970D2C07-63A2-4265-B006-56F685FE80A5}"/>
          </ac:spMkLst>
        </pc:spChg>
        <pc:spChg chg="mod">
          <ac:chgData name="Meyer Raphael (PAR-ES)" userId="79615dfe-ed48-4e74-a40f-4f7b034c1c27" providerId="ADAL" clId="{7F8D466B-DE03-4F86-BE8A-B275E5E71DB3}" dt="2021-07-01T09:00:01.531" v="94" actId="1037"/>
          <ac:spMkLst>
            <pc:docMk/>
            <pc:sldMk cId="689864941" sldId="366"/>
            <ac:spMk id="13" creationId="{93412675-62AA-41D8-997C-4E877ED953A8}"/>
          </ac:spMkLst>
        </pc:spChg>
        <pc:graphicFrameChg chg="mod modGraphic">
          <ac:chgData name="Meyer Raphael (PAR-ES)" userId="79615dfe-ed48-4e74-a40f-4f7b034c1c27" providerId="ADAL" clId="{7F8D466B-DE03-4F86-BE8A-B275E5E71DB3}" dt="2021-07-01T08:56:21.124" v="41"/>
          <ac:graphicFrameMkLst>
            <pc:docMk/>
            <pc:sldMk cId="689864941" sldId="366"/>
            <ac:graphicFrameMk id="9" creationId="{E1369C63-C4A7-403B-A03F-B004599F910A}"/>
          </ac:graphicFrameMkLst>
        </pc:graphicFrameChg>
        <pc:cxnChg chg="mod">
          <ac:chgData name="Meyer Raphael (PAR-ES)" userId="79615dfe-ed48-4e74-a40f-4f7b034c1c27" providerId="ADAL" clId="{7F8D466B-DE03-4F86-BE8A-B275E5E71DB3}" dt="2021-07-01T09:00:01.531" v="94" actId="1037"/>
          <ac:cxnSpMkLst>
            <pc:docMk/>
            <pc:sldMk cId="689864941" sldId="366"/>
            <ac:cxnSpMk id="8" creationId="{6F3EB9D3-E612-42D9-859B-1905BD876C26}"/>
          </ac:cxnSpMkLst>
        </pc:cxnChg>
      </pc:sldChg>
    </pc:docChg>
  </pc:docChgLst>
  <pc:docChgLst>
    <pc:chgData name="Meyer Raphael (PAR-ES)" userId="79615dfe-ed48-4e74-a40f-4f7b034c1c27" providerId="ADAL" clId="{6B72B7AA-64CB-4034-BA81-E3658E7812A5}"/>
    <pc:docChg chg="undo custSel delSld modSld sldOrd">
      <pc:chgData name="Meyer Raphael (PAR-ES)" userId="79615dfe-ed48-4e74-a40f-4f7b034c1c27" providerId="ADAL" clId="{6B72B7AA-64CB-4034-BA81-E3658E7812A5}" dt="2021-10-14T12:06:17.552" v="415" actId="14100"/>
      <pc:docMkLst>
        <pc:docMk/>
      </pc:docMkLst>
      <pc:sldChg chg="ord">
        <pc:chgData name="Meyer Raphael (PAR-ES)" userId="79615dfe-ed48-4e74-a40f-4f7b034c1c27" providerId="ADAL" clId="{6B72B7AA-64CB-4034-BA81-E3658E7812A5}" dt="2021-10-14T09:02:17.036" v="275"/>
        <pc:sldMkLst>
          <pc:docMk/>
          <pc:sldMk cId="3462026173" sldId="370"/>
        </pc:sldMkLst>
      </pc:sldChg>
      <pc:sldChg chg="del ord">
        <pc:chgData name="Meyer Raphael (PAR-ES)" userId="79615dfe-ed48-4e74-a40f-4f7b034c1c27" providerId="ADAL" clId="{6B72B7AA-64CB-4034-BA81-E3658E7812A5}" dt="2021-10-14T09:03:38.157" v="278" actId="47"/>
        <pc:sldMkLst>
          <pc:docMk/>
          <pc:sldMk cId="1259040757" sldId="371"/>
        </pc:sldMkLst>
      </pc:sldChg>
      <pc:sldChg chg="del">
        <pc:chgData name="Meyer Raphael (PAR-ES)" userId="79615dfe-ed48-4e74-a40f-4f7b034c1c27" providerId="ADAL" clId="{6B72B7AA-64CB-4034-BA81-E3658E7812A5}" dt="2021-10-14T09:03:38.157" v="278" actId="47"/>
        <pc:sldMkLst>
          <pc:docMk/>
          <pc:sldMk cId="1661015866" sldId="372"/>
        </pc:sldMkLst>
      </pc:sldChg>
      <pc:sldChg chg="addSp delSp modSp mod">
        <pc:chgData name="Meyer Raphael (PAR-ES)" userId="79615dfe-ed48-4e74-a40f-4f7b034c1c27" providerId="ADAL" clId="{6B72B7AA-64CB-4034-BA81-E3658E7812A5}" dt="2021-10-14T12:06:17.552" v="415" actId="14100"/>
        <pc:sldMkLst>
          <pc:docMk/>
          <pc:sldMk cId="1537997412" sldId="373"/>
        </pc:sldMkLst>
        <pc:spChg chg="add mod">
          <ac:chgData name="Meyer Raphael (PAR-ES)" userId="79615dfe-ed48-4e74-a40f-4f7b034c1c27" providerId="ADAL" clId="{6B72B7AA-64CB-4034-BA81-E3658E7812A5}" dt="2021-10-14T11:41:59.594" v="359" actId="1038"/>
          <ac:spMkLst>
            <pc:docMk/>
            <pc:sldMk cId="1537997412" sldId="373"/>
            <ac:spMk id="2" creationId="{5E8A4EFD-4DC4-43AA-95D5-75F07C9AB845}"/>
          </ac:spMkLst>
        </pc:spChg>
        <pc:spChg chg="mod">
          <ac:chgData name="Meyer Raphael (PAR-ES)" userId="79615dfe-ed48-4e74-a40f-4f7b034c1c27" providerId="ADAL" clId="{6B72B7AA-64CB-4034-BA81-E3658E7812A5}" dt="2021-10-14T11:40:33.481" v="308" actId="1036"/>
          <ac:spMkLst>
            <pc:docMk/>
            <pc:sldMk cId="1537997412" sldId="373"/>
            <ac:spMk id="6" creationId="{8C570F95-0775-4F12-8DDA-DD52CE7241CC}"/>
          </ac:spMkLst>
        </pc:spChg>
        <pc:spChg chg="mod">
          <ac:chgData name="Meyer Raphael (PAR-ES)" userId="79615dfe-ed48-4e74-a40f-4f7b034c1c27" providerId="ADAL" clId="{6B72B7AA-64CB-4034-BA81-E3658E7812A5}" dt="2021-10-14T11:40:33.481" v="308" actId="1036"/>
          <ac:spMkLst>
            <pc:docMk/>
            <pc:sldMk cId="1537997412" sldId="373"/>
            <ac:spMk id="9" creationId="{42AA12ED-4579-4FE5-A07A-BC01B76928FB}"/>
          </ac:spMkLst>
        </pc:spChg>
        <pc:spChg chg="mod">
          <ac:chgData name="Meyer Raphael (PAR-ES)" userId="79615dfe-ed48-4e74-a40f-4f7b034c1c27" providerId="ADAL" clId="{6B72B7AA-64CB-4034-BA81-E3658E7812A5}" dt="2021-10-14T11:40:33.481" v="308" actId="1036"/>
          <ac:spMkLst>
            <pc:docMk/>
            <pc:sldMk cId="1537997412" sldId="373"/>
            <ac:spMk id="12" creationId="{4DA2B71E-2CC2-4C38-BAAB-A71345A07B83}"/>
          </ac:spMkLst>
        </pc:spChg>
        <pc:spChg chg="mod">
          <ac:chgData name="Meyer Raphael (PAR-ES)" userId="79615dfe-ed48-4e74-a40f-4f7b034c1c27" providerId="ADAL" clId="{6B72B7AA-64CB-4034-BA81-E3658E7812A5}" dt="2021-10-14T11:40:33.481" v="308" actId="1036"/>
          <ac:spMkLst>
            <pc:docMk/>
            <pc:sldMk cId="1537997412" sldId="373"/>
            <ac:spMk id="13" creationId="{B946C02A-50DE-42C7-A209-D603829BA4B1}"/>
          </ac:spMkLst>
        </pc:spChg>
        <pc:spChg chg="add mod">
          <ac:chgData name="Meyer Raphael (PAR-ES)" userId="79615dfe-ed48-4e74-a40f-4f7b034c1c27" providerId="ADAL" clId="{6B72B7AA-64CB-4034-BA81-E3658E7812A5}" dt="2021-10-14T11:40:33.481" v="308" actId="1036"/>
          <ac:spMkLst>
            <pc:docMk/>
            <pc:sldMk cId="1537997412" sldId="373"/>
            <ac:spMk id="16" creationId="{12071265-4F7A-4F0C-9EDF-46D776DCEF56}"/>
          </ac:spMkLst>
        </pc:spChg>
        <pc:spChg chg="add mod">
          <ac:chgData name="Meyer Raphael (PAR-ES)" userId="79615dfe-ed48-4e74-a40f-4f7b034c1c27" providerId="ADAL" clId="{6B72B7AA-64CB-4034-BA81-E3658E7812A5}" dt="2021-10-14T11:40:33.481" v="308" actId="1036"/>
          <ac:spMkLst>
            <pc:docMk/>
            <pc:sldMk cId="1537997412" sldId="373"/>
            <ac:spMk id="22" creationId="{B3F5B9B8-EDA8-430F-83AA-59E4DAA4DCA3}"/>
          </ac:spMkLst>
        </pc:spChg>
        <pc:spChg chg="mod">
          <ac:chgData name="Meyer Raphael (PAR-ES)" userId="79615dfe-ed48-4e74-a40f-4f7b034c1c27" providerId="ADAL" clId="{6B72B7AA-64CB-4034-BA81-E3658E7812A5}" dt="2021-10-14T11:40:33.481" v="308" actId="1036"/>
          <ac:spMkLst>
            <pc:docMk/>
            <pc:sldMk cId="1537997412" sldId="373"/>
            <ac:spMk id="24" creationId="{FD07A55C-6879-4E52-B5A8-38679864E2FC}"/>
          </ac:spMkLst>
        </pc:spChg>
        <pc:spChg chg="mod">
          <ac:chgData name="Meyer Raphael (PAR-ES)" userId="79615dfe-ed48-4e74-a40f-4f7b034c1c27" providerId="ADAL" clId="{6B72B7AA-64CB-4034-BA81-E3658E7812A5}" dt="2021-10-14T11:44:43.576" v="388" actId="1036"/>
          <ac:spMkLst>
            <pc:docMk/>
            <pc:sldMk cId="1537997412" sldId="373"/>
            <ac:spMk id="30" creationId="{4F4C31ED-0414-44F1-B84F-EA8394C10C0D}"/>
          </ac:spMkLst>
        </pc:spChg>
        <pc:graphicFrameChg chg="mod">
          <ac:chgData name="Meyer Raphael (PAR-ES)" userId="79615dfe-ed48-4e74-a40f-4f7b034c1c27" providerId="ADAL" clId="{6B72B7AA-64CB-4034-BA81-E3658E7812A5}" dt="2021-10-14T12:00:43.264" v="394" actId="692"/>
          <ac:graphicFrameMkLst>
            <pc:docMk/>
            <pc:sldMk cId="1537997412" sldId="373"/>
            <ac:graphicFrameMk id="10" creationId="{E856299E-9B60-478F-8674-1045505692C4}"/>
          </ac:graphicFrameMkLst>
        </pc:graphicFrameChg>
        <pc:cxnChg chg="add del mod">
          <ac:chgData name="Meyer Raphael (PAR-ES)" userId="79615dfe-ed48-4e74-a40f-4f7b034c1c27" providerId="ADAL" clId="{6B72B7AA-64CB-4034-BA81-E3658E7812A5}" dt="2021-10-14T11:44:50.848" v="389" actId="478"/>
          <ac:cxnSpMkLst>
            <pc:docMk/>
            <pc:sldMk cId="1537997412" sldId="373"/>
            <ac:cxnSpMk id="4" creationId="{1618E749-6E1A-4CDD-BE33-96BC27DA780E}"/>
          </ac:cxnSpMkLst>
        </pc:cxnChg>
        <pc:cxnChg chg="mod">
          <ac:chgData name="Meyer Raphael (PAR-ES)" userId="79615dfe-ed48-4e74-a40f-4f7b034c1c27" providerId="ADAL" clId="{6B72B7AA-64CB-4034-BA81-E3658E7812A5}" dt="2021-10-14T11:40:33.481" v="308" actId="1036"/>
          <ac:cxnSpMkLst>
            <pc:docMk/>
            <pc:sldMk cId="1537997412" sldId="373"/>
            <ac:cxnSpMk id="7" creationId="{D77902D2-9169-4095-AF09-B1A9DB2A7B74}"/>
          </ac:cxnSpMkLst>
        </pc:cxnChg>
        <pc:cxnChg chg="mod">
          <ac:chgData name="Meyer Raphael (PAR-ES)" userId="79615dfe-ed48-4e74-a40f-4f7b034c1c27" providerId="ADAL" clId="{6B72B7AA-64CB-4034-BA81-E3658E7812A5}" dt="2021-10-14T11:40:33.481" v="308" actId="1036"/>
          <ac:cxnSpMkLst>
            <pc:docMk/>
            <pc:sldMk cId="1537997412" sldId="373"/>
            <ac:cxnSpMk id="11" creationId="{A9B79FFE-7EB4-42F9-AF46-169C3E5C72D5}"/>
          </ac:cxnSpMkLst>
        </pc:cxnChg>
        <pc:cxnChg chg="mod">
          <ac:chgData name="Meyer Raphael (PAR-ES)" userId="79615dfe-ed48-4e74-a40f-4f7b034c1c27" providerId="ADAL" clId="{6B72B7AA-64CB-4034-BA81-E3658E7812A5}" dt="2021-10-14T11:46:05.143" v="393" actId="1037"/>
          <ac:cxnSpMkLst>
            <pc:docMk/>
            <pc:sldMk cId="1537997412" sldId="373"/>
            <ac:cxnSpMk id="15" creationId="{0799A6FE-48F2-42FE-8723-6D0DDE6ED073}"/>
          </ac:cxnSpMkLst>
        </pc:cxnChg>
        <pc:cxnChg chg="mod ord">
          <ac:chgData name="Meyer Raphael (PAR-ES)" userId="79615dfe-ed48-4e74-a40f-4f7b034c1c27" providerId="ADAL" clId="{6B72B7AA-64CB-4034-BA81-E3658E7812A5}" dt="2021-10-14T12:04:59.719" v="405" actId="1035"/>
          <ac:cxnSpMkLst>
            <pc:docMk/>
            <pc:sldMk cId="1537997412" sldId="373"/>
            <ac:cxnSpMk id="17" creationId="{ADB86D40-94DA-4EA6-A13C-F322B879613C}"/>
          </ac:cxnSpMkLst>
        </pc:cxnChg>
        <pc:cxnChg chg="add mod ord">
          <ac:chgData name="Meyer Raphael (PAR-ES)" userId="79615dfe-ed48-4e74-a40f-4f7b034c1c27" providerId="ADAL" clId="{6B72B7AA-64CB-4034-BA81-E3658E7812A5}" dt="2021-10-14T12:06:17.552" v="415" actId="14100"/>
          <ac:cxnSpMkLst>
            <pc:docMk/>
            <pc:sldMk cId="1537997412" sldId="373"/>
            <ac:cxnSpMk id="18" creationId="{4AD487EB-8B7D-42D2-9F65-FA2AF08A717F}"/>
          </ac:cxnSpMkLst>
        </pc:cxnChg>
        <pc:cxnChg chg="mod ord">
          <ac:chgData name="Meyer Raphael (PAR-ES)" userId="79615dfe-ed48-4e74-a40f-4f7b034c1c27" providerId="ADAL" clId="{6B72B7AA-64CB-4034-BA81-E3658E7812A5}" dt="2021-10-14T12:06:10.762" v="414" actId="14100"/>
          <ac:cxnSpMkLst>
            <pc:docMk/>
            <pc:sldMk cId="1537997412" sldId="373"/>
            <ac:cxnSpMk id="21" creationId="{70B5456D-B5DD-4516-B6A3-B39AEE671B52}"/>
          </ac:cxnSpMkLst>
        </pc:cxnChg>
      </pc:sldChg>
    </pc:docChg>
  </pc:docChgLst>
  <pc:docChgLst>
    <pc:chgData name="Keller Liliane (PAR-PS)" userId="1f10f474-4ab3-4505-9616-24ced11273de" providerId="ADAL" clId="{8486A8B0-9FE2-4E57-81C8-908DB08B0E52}"/>
    <pc:docChg chg="custSel modSld">
      <pc:chgData name="Keller Liliane (PAR-PS)" userId="1f10f474-4ab3-4505-9616-24ced11273de" providerId="ADAL" clId="{8486A8B0-9FE2-4E57-81C8-908DB08B0E52}" dt="2021-10-18T13:11:36.412" v="0" actId="21"/>
      <pc:docMkLst>
        <pc:docMk/>
      </pc:docMkLst>
      <pc:sldChg chg="delSp mod">
        <pc:chgData name="Keller Liliane (PAR-PS)" userId="1f10f474-4ab3-4505-9616-24ced11273de" providerId="ADAL" clId="{8486A8B0-9FE2-4E57-81C8-908DB08B0E52}" dt="2021-10-18T13:11:36.412" v="0" actId="21"/>
        <pc:sldMkLst>
          <pc:docMk/>
          <pc:sldMk cId="3759573184" sldId="375"/>
        </pc:sldMkLst>
        <pc:graphicFrameChg chg="del">
          <ac:chgData name="Keller Liliane (PAR-PS)" userId="1f10f474-4ab3-4505-9616-24ced11273de" providerId="ADAL" clId="{8486A8B0-9FE2-4E57-81C8-908DB08B0E52}" dt="2021-10-18T13:11:36.412" v="0" actId="21"/>
          <ac:graphicFrameMkLst>
            <pc:docMk/>
            <pc:sldMk cId="3759573184" sldId="375"/>
            <ac:graphicFrameMk id="9" creationId="{E1369C63-C4A7-403B-A03F-B004599F910A}"/>
          </ac:graphicFrameMkLst>
        </pc:graphicFrameChg>
      </pc:sldChg>
    </pc:docChg>
  </pc:docChgLst>
  <pc:docChgLst>
    <pc:chgData name="Meyer Raphael (PAR-ES)" userId="79615dfe-ed48-4e74-a40f-4f7b034c1c27" providerId="ADAL" clId="{F95B8E74-9B48-401B-9B68-CA0D4311E19D}"/>
    <pc:docChg chg="modSld">
      <pc:chgData name="Meyer Raphael (PAR-ES)" userId="79615dfe-ed48-4e74-a40f-4f7b034c1c27" providerId="ADAL" clId="{F95B8E74-9B48-401B-9B68-CA0D4311E19D}" dt="2021-10-08T06:58:14.939" v="58" actId="1038"/>
      <pc:docMkLst>
        <pc:docMk/>
      </pc:docMkLst>
      <pc:sldChg chg="modSp mod">
        <pc:chgData name="Meyer Raphael (PAR-ES)" userId="79615dfe-ed48-4e74-a40f-4f7b034c1c27" providerId="ADAL" clId="{F95B8E74-9B48-401B-9B68-CA0D4311E19D}" dt="2021-10-08T06:57:56.626" v="39" actId="1037"/>
        <pc:sldMkLst>
          <pc:docMk/>
          <pc:sldMk cId="1495152177" sldId="298"/>
        </pc:sldMkLst>
        <pc:spChg chg="mod">
          <ac:chgData name="Meyer Raphael (PAR-ES)" userId="79615dfe-ed48-4e74-a40f-4f7b034c1c27" providerId="ADAL" clId="{F95B8E74-9B48-401B-9B68-CA0D4311E19D}" dt="2021-10-08T06:57:56.626" v="39" actId="1037"/>
          <ac:spMkLst>
            <pc:docMk/>
            <pc:sldMk cId="1495152177" sldId="298"/>
            <ac:spMk id="12" creationId="{970D2C07-63A2-4265-B006-56F685FE80A5}"/>
          </ac:spMkLst>
        </pc:spChg>
        <pc:spChg chg="mod">
          <ac:chgData name="Meyer Raphael (PAR-ES)" userId="79615dfe-ed48-4e74-a40f-4f7b034c1c27" providerId="ADAL" clId="{F95B8E74-9B48-401B-9B68-CA0D4311E19D}" dt="2021-10-08T06:57:56.626" v="39" actId="1037"/>
          <ac:spMkLst>
            <pc:docMk/>
            <pc:sldMk cId="1495152177" sldId="298"/>
            <ac:spMk id="13" creationId="{93412675-62AA-41D8-997C-4E877ED953A8}"/>
          </ac:spMkLst>
        </pc:spChg>
        <pc:graphicFrameChg chg="modGraphic">
          <ac:chgData name="Meyer Raphael (PAR-ES)" userId="79615dfe-ed48-4e74-a40f-4f7b034c1c27" providerId="ADAL" clId="{F95B8E74-9B48-401B-9B68-CA0D4311E19D}" dt="2021-10-08T06:56:49.876" v="26"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F95B8E74-9B48-401B-9B68-CA0D4311E19D}" dt="2021-10-08T06:57:56.626" v="39" actId="1037"/>
          <ac:cxnSpMkLst>
            <pc:docMk/>
            <pc:sldMk cId="1495152177" sldId="298"/>
            <ac:cxnSpMk id="8" creationId="{6F3EB9D3-E612-42D9-859B-1905BD876C26}"/>
          </ac:cxnSpMkLst>
        </pc:cxnChg>
      </pc:sldChg>
      <pc:sldChg chg="modSp mod">
        <pc:chgData name="Meyer Raphael (PAR-ES)" userId="79615dfe-ed48-4e74-a40f-4f7b034c1c27" providerId="ADAL" clId="{F95B8E74-9B48-401B-9B68-CA0D4311E19D}" dt="2021-10-08T06:58:04.889" v="46" actId="1037"/>
        <pc:sldMkLst>
          <pc:docMk/>
          <pc:sldMk cId="3590012689" sldId="365"/>
        </pc:sldMkLst>
        <pc:spChg chg="mod">
          <ac:chgData name="Meyer Raphael (PAR-ES)" userId="79615dfe-ed48-4e74-a40f-4f7b034c1c27" providerId="ADAL" clId="{F95B8E74-9B48-401B-9B68-CA0D4311E19D}" dt="2021-10-08T06:58:04.889" v="46" actId="1037"/>
          <ac:spMkLst>
            <pc:docMk/>
            <pc:sldMk cId="3590012689" sldId="365"/>
            <ac:spMk id="12" creationId="{970D2C07-63A2-4265-B006-56F685FE80A5}"/>
          </ac:spMkLst>
        </pc:spChg>
        <pc:spChg chg="mod">
          <ac:chgData name="Meyer Raphael (PAR-ES)" userId="79615dfe-ed48-4e74-a40f-4f7b034c1c27" providerId="ADAL" clId="{F95B8E74-9B48-401B-9B68-CA0D4311E19D}" dt="2021-10-08T06:58:04.889" v="46" actId="1037"/>
          <ac:spMkLst>
            <pc:docMk/>
            <pc:sldMk cId="3590012689" sldId="365"/>
            <ac:spMk id="13" creationId="{93412675-62AA-41D8-997C-4E877ED953A8}"/>
          </ac:spMkLst>
        </pc:spChg>
        <pc:graphicFrameChg chg="mod modGraphic">
          <ac:chgData name="Meyer Raphael (PAR-ES)" userId="79615dfe-ed48-4e74-a40f-4f7b034c1c27" providerId="ADAL" clId="{F95B8E74-9B48-401B-9B68-CA0D4311E19D}" dt="2021-10-08T06:57:39.743" v="31"/>
          <ac:graphicFrameMkLst>
            <pc:docMk/>
            <pc:sldMk cId="3590012689" sldId="365"/>
            <ac:graphicFrameMk id="9" creationId="{E1369C63-C4A7-403B-A03F-B004599F910A}"/>
          </ac:graphicFrameMkLst>
        </pc:graphicFrameChg>
        <pc:cxnChg chg="mod">
          <ac:chgData name="Meyer Raphael (PAR-ES)" userId="79615dfe-ed48-4e74-a40f-4f7b034c1c27" providerId="ADAL" clId="{F95B8E74-9B48-401B-9B68-CA0D4311E19D}" dt="2021-10-08T06:58:04.889" v="46" actId="1037"/>
          <ac:cxnSpMkLst>
            <pc:docMk/>
            <pc:sldMk cId="3590012689" sldId="365"/>
            <ac:cxnSpMk id="8" creationId="{6F3EB9D3-E612-42D9-859B-1905BD876C26}"/>
          </ac:cxnSpMkLst>
        </pc:cxnChg>
      </pc:sldChg>
      <pc:sldChg chg="modSp mod">
        <pc:chgData name="Meyer Raphael (PAR-ES)" userId="79615dfe-ed48-4e74-a40f-4f7b034c1c27" providerId="ADAL" clId="{F95B8E74-9B48-401B-9B68-CA0D4311E19D}" dt="2021-10-08T06:58:14.939" v="58" actId="1038"/>
        <pc:sldMkLst>
          <pc:docMk/>
          <pc:sldMk cId="689864941" sldId="366"/>
        </pc:sldMkLst>
        <pc:spChg chg="mod">
          <ac:chgData name="Meyer Raphael (PAR-ES)" userId="79615dfe-ed48-4e74-a40f-4f7b034c1c27" providerId="ADAL" clId="{F95B8E74-9B48-401B-9B68-CA0D4311E19D}" dt="2021-10-08T06:58:14.939" v="58" actId="1038"/>
          <ac:spMkLst>
            <pc:docMk/>
            <pc:sldMk cId="689864941" sldId="366"/>
            <ac:spMk id="12" creationId="{970D2C07-63A2-4265-B006-56F685FE80A5}"/>
          </ac:spMkLst>
        </pc:spChg>
        <pc:spChg chg="mod">
          <ac:chgData name="Meyer Raphael (PAR-ES)" userId="79615dfe-ed48-4e74-a40f-4f7b034c1c27" providerId="ADAL" clId="{F95B8E74-9B48-401B-9B68-CA0D4311E19D}" dt="2021-10-08T06:58:14.939" v="58" actId="1038"/>
          <ac:spMkLst>
            <pc:docMk/>
            <pc:sldMk cId="689864941" sldId="366"/>
            <ac:spMk id="13" creationId="{93412675-62AA-41D8-997C-4E877ED953A8}"/>
          </ac:spMkLst>
        </pc:spChg>
        <pc:graphicFrameChg chg="mod modGraphic">
          <ac:chgData name="Meyer Raphael (PAR-ES)" userId="79615dfe-ed48-4e74-a40f-4f7b034c1c27" providerId="ADAL" clId="{F95B8E74-9B48-401B-9B68-CA0D4311E19D}" dt="2021-10-08T06:57:44.737" v="32"/>
          <ac:graphicFrameMkLst>
            <pc:docMk/>
            <pc:sldMk cId="689864941" sldId="366"/>
            <ac:graphicFrameMk id="9" creationId="{E1369C63-C4A7-403B-A03F-B004599F910A}"/>
          </ac:graphicFrameMkLst>
        </pc:graphicFrameChg>
        <pc:cxnChg chg="mod">
          <ac:chgData name="Meyer Raphael (PAR-ES)" userId="79615dfe-ed48-4e74-a40f-4f7b034c1c27" providerId="ADAL" clId="{F95B8E74-9B48-401B-9B68-CA0D4311E19D}" dt="2021-10-08T06:58:14.939" v="58" actId="1038"/>
          <ac:cxnSpMkLst>
            <pc:docMk/>
            <pc:sldMk cId="689864941" sldId="366"/>
            <ac:cxnSpMk id="8" creationId="{6F3EB9D3-E612-42D9-859B-1905BD876C26}"/>
          </ac:cxnSpMkLst>
        </pc:cxnChg>
      </pc:sldChg>
    </pc:docChg>
  </pc:docChgLst>
  <pc:docChgLst>
    <pc:chgData name="Meyer Raphael (PAR-ES)" userId="79615dfe-ed48-4e74-a40f-4f7b034c1c27" providerId="ADAL" clId="{A5E257DA-1DDD-4903-A2FA-1BDC090569F8}"/>
    <pc:docChg chg="undo custSel addSld delSld modSld sldOrd modMainMaster">
      <pc:chgData name="Meyer Raphael (PAR-ES)" userId="79615dfe-ed48-4e74-a40f-4f7b034c1c27" providerId="ADAL" clId="{A5E257DA-1DDD-4903-A2FA-1BDC090569F8}" dt="2021-10-19T11:12:31.231" v="321" actId="47"/>
      <pc:docMkLst>
        <pc:docMk/>
      </pc:docMkLst>
      <pc:sldChg chg="add del">
        <pc:chgData name="Meyer Raphael (PAR-ES)" userId="79615dfe-ed48-4e74-a40f-4f7b034c1c27" providerId="ADAL" clId="{A5E257DA-1DDD-4903-A2FA-1BDC090569F8}" dt="2021-10-19T10:56:27.768" v="287" actId="47"/>
        <pc:sldMkLst>
          <pc:docMk/>
          <pc:sldMk cId="394638514" sldId="278"/>
        </pc:sldMkLst>
      </pc:sldChg>
      <pc:sldChg chg="add del">
        <pc:chgData name="Meyer Raphael (PAR-ES)" userId="79615dfe-ed48-4e74-a40f-4f7b034c1c27" providerId="ADAL" clId="{A5E257DA-1DDD-4903-A2FA-1BDC090569F8}" dt="2021-10-19T10:57:16.729" v="288" actId="47"/>
        <pc:sldMkLst>
          <pc:docMk/>
          <pc:sldMk cId="2118529740" sldId="292"/>
        </pc:sldMkLst>
      </pc:sldChg>
      <pc:sldChg chg="del">
        <pc:chgData name="Meyer Raphael (PAR-ES)" userId="79615dfe-ed48-4e74-a40f-4f7b034c1c27" providerId="ADAL" clId="{A5E257DA-1DDD-4903-A2FA-1BDC090569F8}" dt="2021-10-19T11:12:31.231" v="321" actId="47"/>
        <pc:sldMkLst>
          <pc:docMk/>
          <pc:sldMk cId="3137099422" sldId="358"/>
        </pc:sldMkLst>
      </pc:sldChg>
      <pc:sldChg chg="del">
        <pc:chgData name="Meyer Raphael (PAR-ES)" userId="79615dfe-ed48-4e74-a40f-4f7b034c1c27" providerId="ADAL" clId="{A5E257DA-1DDD-4903-A2FA-1BDC090569F8}" dt="2021-10-19T11:12:26.826" v="320" actId="47"/>
        <pc:sldMkLst>
          <pc:docMk/>
          <pc:sldMk cId="4111543747" sldId="368"/>
        </pc:sldMkLst>
      </pc:sldChg>
      <pc:sldChg chg="del">
        <pc:chgData name="Meyer Raphael (PAR-ES)" userId="79615dfe-ed48-4e74-a40f-4f7b034c1c27" providerId="ADAL" clId="{A5E257DA-1DDD-4903-A2FA-1BDC090569F8}" dt="2021-10-19T11:12:21.888" v="319" actId="47"/>
        <pc:sldMkLst>
          <pc:docMk/>
          <pc:sldMk cId="3462026173" sldId="370"/>
        </pc:sldMkLst>
      </pc:sldChg>
      <pc:sldChg chg="addSp delSp modSp mod modClrScheme modShow chgLayout">
        <pc:chgData name="Meyer Raphael (PAR-ES)" userId="79615dfe-ed48-4e74-a40f-4f7b034c1c27" providerId="ADAL" clId="{A5E257DA-1DDD-4903-A2FA-1BDC090569F8}" dt="2021-10-19T10:56:00.761" v="284" actId="207"/>
        <pc:sldMkLst>
          <pc:docMk/>
          <pc:sldMk cId="1537997412" sldId="373"/>
        </pc:sldMkLst>
        <pc:spChg chg="mod">
          <ac:chgData name="Meyer Raphael (PAR-ES)" userId="79615dfe-ed48-4e74-a40f-4f7b034c1c27" providerId="ADAL" clId="{A5E257DA-1DDD-4903-A2FA-1BDC090569F8}" dt="2021-10-19T10:54:47.546" v="276" actId="2711"/>
          <ac:spMkLst>
            <pc:docMk/>
            <pc:sldMk cId="1537997412" sldId="373"/>
            <ac:spMk id="2" creationId="{5E8A4EFD-4DC4-43AA-95D5-75F07C9AB845}"/>
          </ac:spMkLst>
        </pc:spChg>
        <pc:spChg chg="del mod">
          <ac:chgData name="Meyer Raphael (PAR-ES)" userId="79615dfe-ed48-4e74-a40f-4f7b034c1c27" providerId="ADAL" clId="{A5E257DA-1DDD-4903-A2FA-1BDC090569F8}" dt="2021-10-19T10:54:19.590" v="271" actId="478"/>
          <ac:spMkLst>
            <pc:docMk/>
            <pc:sldMk cId="1537997412" sldId="373"/>
            <ac:spMk id="6" creationId="{8C570F95-0775-4F12-8DDA-DD52CE7241CC}"/>
          </ac:spMkLst>
        </pc:spChg>
        <pc:spChg chg="add del mod ord">
          <ac:chgData name="Meyer Raphael (PAR-ES)" userId="79615dfe-ed48-4e74-a40f-4f7b034c1c27" providerId="ADAL" clId="{A5E257DA-1DDD-4903-A2FA-1BDC090569F8}" dt="2021-10-19T09:26:15.211" v="72" actId="700"/>
          <ac:spMkLst>
            <pc:docMk/>
            <pc:sldMk cId="1537997412" sldId="373"/>
            <ac:spMk id="8" creationId="{BB7AD370-FC21-4A63-B2F3-F53F7A8A2971}"/>
          </ac:spMkLst>
        </pc:spChg>
        <pc:spChg chg="mod">
          <ac:chgData name="Meyer Raphael (PAR-ES)" userId="79615dfe-ed48-4e74-a40f-4f7b034c1c27" providerId="ADAL" clId="{A5E257DA-1DDD-4903-A2FA-1BDC090569F8}" dt="2021-10-19T10:53:51.775" v="267" actId="2711"/>
          <ac:spMkLst>
            <pc:docMk/>
            <pc:sldMk cId="1537997412" sldId="373"/>
            <ac:spMk id="9" creationId="{42AA12ED-4579-4FE5-A07A-BC01B76928FB}"/>
          </ac:spMkLst>
        </pc:spChg>
        <pc:spChg chg="mod">
          <ac:chgData name="Meyer Raphael (PAR-ES)" userId="79615dfe-ed48-4e74-a40f-4f7b034c1c27" providerId="ADAL" clId="{A5E257DA-1DDD-4903-A2FA-1BDC090569F8}" dt="2021-10-19T10:53:46.148" v="265" actId="2711"/>
          <ac:spMkLst>
            <pc:docMk/>
            <pc:sldMk cId="1537997412" sldId="373"/>
            <ac:spMk id="12" creationId="{4DA2B71E-2CC2-4C38-BAAB-A71345A07B83}"/>
          </ac:spMkLst>
        </pc:spChg>
        <pc:spChg chg="mod">
          <ac:chgData name="Meyer Raphael (PAR-ES)" userId="79615dfe-ed48-4e74-a40f-4f7b034c1c27" providerId="ADAL" clId="{A5E257DA-1DDD-4903-A2FA-1BDC090569F8}" dt="2021-10-19T10:53:48.583" v="266" actId="2711"/>
          <ac:spMkLst>
            <pc:docMk/>
            <pc:sldMk cId="1537997412" sldId="373"/>
            <ac:spMk id="13" creationId="{B946C02A-50DE-42C7-A209-D603829BA4B1}"/>
          </ac:spMkLst>
        </pc:spChg>
        <pc:spChg chg="mod">
          <ac:chgData name="Meyer Raphael (PAR-ES)" userId="79615dfe-ed48-4e74-a40f-4f7b034c1c27" providerId="ADAL" clId="{A5E257DA-1DDD-4903-A2FA-1BDC090569F8}" dt="2021-10-19T07:35:16.109" v="14" actId="14100"/>
          <ac:spMkLst>
            <pc:docMk/>
            <pc:sldMk cId="1537997412" sldId="373"/>
            <ac:spMk id="16" creationId="{12071265-4F7A-4F0C-9EDF-46D776DCEF56}"/>
          </ac:spMkLst>
        </pc:spChg>
        <pc:spChg chg="del mod ord">
          <ac:chgData name="Meyer Raphael (PAR-ES)" userId="79615dfe-ed48-4e74-a40f-4f7b034c1c27" providerId="ADAL" clId="{A5E257DA-1DDD-4903-A2FA-1BDC090569F8}" dt="2021-10-19T09:28:36.491" v="165" actId="478"/>
          <ac:spMkLst>
            <pc:docMk/>
            <pc:sldMk cId="1537997412" sldId="373"/>
            <ac:spMk id="19" creationId="{9FB4AF3B-D5AD-4F53-ABB0-E4CE1F5D8E5E}"/>
          </ac:spMkLst>
        </pc:spChg>
        <pc:spChg chg="add del">
          <ac:chgData name="Meyer Raphael (PAR-ES)" userId="79615dfe-ed48-4e74-a40f-4f7b034c1c27" providerId="ADAL" clId="{A5E257DA-1DDD-4903-A2FA-1BDC090569F8}" dt="2021-10-19T09:29:45.750" v="169" actId="478"/>
          <ac:spMkLst>
            <pc:docMk/>
            <pc:sldMk cId="1537997412" sldId="373"/>
            <ac:spMk id="20" creationId="{6D955C95-B626-44C6-B064-0754E67E37CF}"/>
          </ac:spMkLst>
        </pc:spChg>
        <pc:spChg chg="mod">
          <ac:chgData name="Meyer Raphael (PAR-ES)" userId="79615dfe-ed48-4e74-a40f-4f7b034c1c27" providerId="ADAL" clId="{A5E257DA-1DDD-4903-A2FA-1BDC090569F8}" dt="2021-10-19T10:54:05.777" v="270" actId="2711"/>
          <ac:spMkLst>
            <pc:docMk/>
            <pc:sldMk cId="1537997412" sldId="373"/>
            <ac:spMk id="22" creationId="{B3F5B9B8-EDA8-430F-83AA-59E4DAA4DCA3}"/>
          </ac:spMkLst>
        </pc:spChg>
        <pc:spChg chg="add del mod">
          <ac:chgData name="Meyer Raphael (PAR-ES)" userId="79615dfe-ed48-4e74-a40f-4f7b034c1c27" providerId="ADAL" clId="{A5E257DA-1DDD-4903-A2FA-1BDC090569F8}" dt="2021-10-19T09:28:40.747" v="166" actId="478"/>
          <ac:spMkLst>
            <pc:docMk/>
            <pc:sldMk cId="1537997412" sldId="373"/>
            <ac:spMk id="23" creationId="{D23C2A18-7CB1-4AB4-B97C-129A04690FE2}"/>
          </ac:spMkLst>
        </pc:spChg>
        <pc:spChg chg="mod">
          <ac:chgData name="Meyer Raphael (PAR-ES)" userId="79615dfe-ed48-4e74-a40f-4f7b034c1c27" providerId="ADAL" clId="{A5E257DA-1DDD-4903-A2FA-1BDC090569F8}" dt="2021-10-19T07:35:07.673" v="12" actId="14100"/>
          <ac:spMkLst>
            <pc:docMk/>
            <pc:sldMk cId="1537997412" sldId="373"/>
            <ac:spMk id="24" creationId="{FD07A55C-6879-4E52-B5A8-38679864E2FC}"/>
          </ac:spMkLst>
        </pc:spChg>
        <pc:spChg chg="add del mod">
          <ac:chgData name="Meyer Raphael (PAR-ES)" userId="79615dfe-ed48-4e74-a40f-4f7b034c1c27" providerId="ADAL" clId="{A5E257DA-1DDD-4903-A2FA-1BDC090569F8}" dt="2021-10-19T09:27:29.945" v="81"/>
          <ac:spMkLst>
            <pc:docMk/>
            <pc:sldMk cId="1537997412" sldId="373"/>
            <ac:spMk id="25" creationId="{986910AA-318D-4B30-A751-E918E5F3FEA1}"/>
          </ac:spMkLst>
        </pc:spChg>
        <pc:spChg chg="add mod">
          <ac:chgData name="Meyer Raphael (PAR-ES)" userId="79615dfe-ed48-4e74-a40f-4f7b034c1c27" providerId="ADAL" clId="{A5E257DA-1DDD-4903-A2FA-1BDC090569F8}" dt="2021-10-19T09:29:52.362" v="171" actId="404"/>
          <ac:spMkLst>
            <pc:docMk/>
            <pc:sldMk cId="1537997412" sldId="373"/>
            <ac:spMk id="26" creationId="{B2A2B17F-5283-4548-8C7D-95077C2EAD04}"/>
          </ac:spMkLst>
        </pc:spChg>
        <pc:spChg chg="add mod">
          <ac:chgData name="Meyer Raphael (PAR-ES)" userId="79615dfe-ed48-4e74-a40f-4f7b034c1c27" providerId="ADAL" clId="{A5E257DA-1DDD-4903-A2FA-1BDC090569F8}" dt="2021-10-19T10:54:20.655" v="272"/>
          <ac:spMkLst>
            <pc:docMk/>
            <pc:sldMk cId="1537997412" sldId="373"/>
            <ac:spMk id="28" creationId="{582710AA-075B-42A9-AAE8-776AAD968DF6}"/>
          </ac:spMkLst>
        </pc:spChg>
        <pc:spChg chg="mod">
          <ac:chgData name="Meyer Raphael (PAR-ES)" userId="79615dfe-ed48-4e74-a40f-4f7b034c1c27" providerId="ADAL" clId="{A5E257DA-1DDD-4903-A2FA-1BDC090569F8}" dt="2021-10-19T10:54:44.957" v="275" actId="2711"/>
          <ac:spMkLst>
            <pc:docMk/>
            <pc:sldMk cId="1537997412" sldId="373"/>
            <ac:spMk id="30" creationId="{4F4C31ED-0414-44F1-B84F-EA8394C10C0D}"/>
          </ac:spMkLst>
        </pc:spChg>
        <pc:graphicFrameChg chg="mod">
          <ac:chgData name="Meyer Raphael (PAR-ES)" userId="79615dfe-ed48-4e74-a40f-4f7b034c1c27" providerId="ADAL" clId="{A5E257DA-1DDD-4903-A2FA-1BDC090569F8}" dt="2021-10-19T10:56:00.761" v="284" actId="207"/>
          <ac:graphicFrameMkLst>
            <pc:docMk/>
            <pc:sldMk cId="1537997412" sldId="373"/>
            <ac:graphicFrameMk id="10" creationId="{E856299E-9B60-478F-8674-1045505692C4}"/>
          </ac:graphicFrameMkLst>
        </pc:graphicFrameChg>
        <pc:cxnChg chg="mod">
          <ac:chgData name="Meyer Raphael (PAR-ES)" userId="79615dfe-ed48-4e74-a40f-4f7b034c1c27" providerId="ADAL" clId="{A5E257DA-1DDD-4903-A2FA-1BDC090569F8}" dt="2021-10-19T07:36:38.914" v="23" actId="1038"/>
          <ac:cxnSpMkLst>
            <pc:docMk/>
            <pc:sldMk cId="1537997412" sldId="373"/>
            <ac:cxnSpMk id="7" creationId="{D77902D2-9169-4095-AF09-B1A9DB2A7B74}"/>
          </ac:cxnSpMkLst>
        </pc:cxnChg>
        <pc:cxnChg chg="mod">
          <ac:chgData name="Meyer Raphael (PAR-ES)" userId="79615dfe-ed48-4e74-a40f-4f7b034c1c27" providerId="ADAL" clId="{A5E257DA-1DDD-4903-A2FA-1BDC090569F8}" dt="2021-10-19T07:36:51.807" v="25" actId="1037"/>
          <ac:cxnSpMkLst>
            <pc:docMk/>
            <pc:sldMk cId="1537997412" sldId="373"/>
            <ac:cxnSpMk id="11" creationId="{A9B79FFE-7EB4-42F9-AF46-169C3E5C72D5}"/>
          </ac:cxnSpMkLst>
        </pc:cxnChg>
        <pc:cxnChg chg="mod">
          <ac:chgData name="Meyer Raphael (PAR-ES)" userId="79615dfe-ed48-4e74-a40f-4f7b034c1c27" providerId="ADAL" clId="{A5E257DA-1DDD-4903-A2FA-1BDC090569F8}" dt="2021-10-19T07:34:09.949" v="6" actId="1036"/>
          <ac:cxnSpMkLst>
            <pc:docMk/>
            <pc:sldMk cId="1537997412" sldId="373"/>
            <ac:cxnSpMk id="17" creationId="{ADB86D40-94DA-4EA6-A13C-F322B879613C}"/>
          </ac:cxnSpMkLst>
        </pc:cxnChg>
        <pc:cxnChg chg="mod">
          <ac:chgData name="Meyer Raphael (PAR-ES)" userId="79615dfe-ed48-4e74-a40f-4f7b034c1c27" providerId="ADAL" clId="{A5E257DA-1DDD-4903-A2FA-1BDC090569F8}" dt="2021-10-19T07:34:38.235" v="8" actId="1035"/>
          <ac:cxnSpMkLst>
            <pc:docMk/>
            <pc:sldMk cId="1537997412" sldId="373"/>
            <ac:cxnSpMk id="18" creationId="{4AD487EB-8B7D-42D2-9F65-FA2AF08A717F}"/>
          </ac:cxnSpMkLst>
        </pc:cxnChg>
        <pc:cxnChg chg="mod">
          <ac:chgData name="Meyer Raphael (PAR-ES)" userId="79615dfe-ed48-4e74-a40f-4f7b034c1c27" providerId="ADAL" clId="{A5E257DA-1DDD-4903-A2FA-1BDC090569F8}" dt="2021-10-19T07:34:52.791" v="10" actId="1036"/>
          <ac:cxnSpMkLst>
            <pc:docMk/>
            <pc:sldMk cId="1537997412" sldId="373"/>
            <ac:cxnSpMk id="21" creationId="{70B5456D-B5DD-4516-B6A3-B39AEE671B52}"/>
          </ac:cxnSpMkLst>
        </pc:cxnChg>
      </pc:sldChg>
      <pc:sldChg chg="addSp delSp modSp add mod ord modShow">
        <pc:chgData name="Meyer Raphael (PAR-ES)" userId="79615dfe-ed48-4e74-a40f-4f7b034c1c27" providerId="ADAL" clId="{A5E257DA-1DDD-4903-A2FA-1BDC090569F8}" dt="2021-10-19T10:49:46.899" v="262" actId="207"/>
        <pc:sldMkLst>
          <pc:docMk/>
          <pc:sldMk cId="1860183250" sldId="377"/>
        </pc:sldMkLst>
        <pc:spChg chg="mod">
          <ac:chgData name="Meyer Raphael (PAR-ES)" userId="79615dfe-ed48-4e74-a40f-4f7b034c1c27" providerId="ADAL" clId="{A5E257DA-1DDD-4903-A2FA-1BDC090569F8}" dt="2021-10-19T09:43:35.949" v="202" actId="2711"/>
          <ac:spMkLst>
            <pc:docMk/>
            <pc:sldMk cId="1860183250" sldId="377"/>
            <ac:spMk id="2" creationId="{5E8A4EFD-4DC4-43AA-95D5-75F07C9AB845}"/>
          </ac:spMkLst>
        </pc:spChg>
        <pc:spChg chg="add del mod">
          <ac:chgData name="Meyer Raphael (PAR-ES)" userId="79615dfe-ed48-4e74-a40f-4f7b034c1c27" providerId="ADAL" clId="{A5E257DA-1DDD-4903-A2FA-1BDC090569F8}" dt="2021-10-19T09:44:22.371" v="208" actId="478"/>
          <ac:spMkLst>
            <pc:docMk/>
            <pc:sldMk cId="1860183250" sldId="377"/>
            <ac:spMk id="4" creationId="{DFF900A6-17FF-45E8-AEE4-B4AB3AAA3450}"/>
          </ac:spMkLst>
        </pc:spChg>
        <pc:spChg chg="mod">
          <ac:chgData name="Meyer Raphael (PAR-ES)" userId="79615dfe-ed48-4e74-a40f-4f7b034c1c27" providerId="ADAL" clId="{A5E257DA-1DDD-4903-A2FA-1BDC090569F8}" dt="2021-10-19T09:43:09.615" v="197" actId="14100"/>
          <ac:spMkLst>
            <pc:docMk/>
            <pc:sldMk cId="1860183250" sldId="377"/>
            <ac:spMk id="6" creationId="{8C570F95-0775-4F12-8DDA-DD52CE7241CC}"/>
          </ac:spMkLst>
        </pc:spChg>
        <pc:spChg chg="mod">
          <ac:chgData name="Meyer Raphael (PAR-ES)" userId="79615dfe-ed48-4e74-a40f-4f7b034c1c27" providerId="ADAL" clId="{A5E257DA-1DDD-4903-A2FA-1BDC090569F8}" dt="2021-10-19T09:43:29.584" v="201" actId="2711"/>
          <ac:spMkLst>
            <pc:docMk/>
            <pc:sldMk cId="1860183250" sldId="377"/>
            <ac:spMk id="9" creationId="{42AA12ED-4579-4FE5-A07A-BC01B76928FB}"/>
          </ac:spMkLst>
        </pc:spChg>
        <pc:spChg chg="mod">
          <ac:chgData name="Meyer Raphael (PAR-ES)" userId="79615dfe-ed48-4e74-a40f-4f7b034c1c27" providerId="ADAL" clId="{A5E257DA-1DDD-4903-A2FA-1BDC090569F8}" dt="2021-10-19T09:43:24.876" v="199" actId="2711"/>
          <ac:spMkLst>
            <pc:docMk/>
            <pc:sldMk cId="1860183250" sldId="377"/>
            <ac:spMk id="12" creationId="{4DA2B71E-2CC2-4C38-BAAB-A71345A07B83}"/>
          </ac:spMkLst>
        </pc:spChg>
        <pc:spChg chg="mod">
          <ac:chgData name="Meyer Raphael (PAR-ES)" userId="79615dfe-ed48-4e74-a40f-4f7b034c1c27" providerId="ADAL" clId="{A5E257DA-1DDD-4903-A2FA-1BDC090569F8}" dt="2021-10-19T09:43:27.463" v="200" actId="2711"/>
          <ac:spMkLst>
            <pc:docMk/>
            <pc:sldMk cId="1860183250" sldId="377"/>
            <ac:spMk id="13" creationId="{B946C02A-50DE-42C7-A209-D603829BA4B1}"/>
          </ac:spMkLst>
        </pc:spChg>
        <pc:spChg chg="del mod">
          <ac:chgData name="Meyer Raphael (PAR-ES)" userId="79615dfe-ed48-4e74-a40f-4f7b034c1c27" providerId="ADAL" clId="{A5E257DA-1DDD-4903-A2FA-1BDC090569F8}" dt="2021-10-19T09:44:18.679" v="207" actId="478"/>
          <ac:spMkLst>
            <pc:docMk/>
            <pc:sldMk cId="1860183250" sldId="377"/>
            <ac:spMk id="19" creationId="{9FB4AF3B-D5AD-4F53-ABB0-E4CE1F5D8E5E}"/>
          </ac:spMkLst>
        </pc:spChg>
        <pc:spChg chg="del mod">
          <ac:chgData name="Meyer Raphael (PAR-ES)" userId="79615dfe-ed48-4e74-a40f-4f7b034c1c27" providerId="ADAL" clId="{A5E257DA-1DDD-4903-A2FA-1BDC090569F8}" dt="2021-10-19T09:44:26.161" v="209" actId="478"/>
          <ac:spMkLst>
            <pc:docMk/>
            <pc:sldMk cId="1860183250" sldId="377"/>
            <ac:spMk id="20" creationId="{6D955C95-B626-44C6-B064-0754E67E37CF}"/>
          </ac:spMkLst>
        </pc:spChg>
        <pc:spChg chg="mod">
          <ac:chgData name="Meyer Raphael (PAR-ES)" userId="79615dfe-ed48-4e74-a40f-4f7b034c1c27" providerId="ADAL" clId="{A5E257DA-1DDD-4903-A2FA-1BDC090569F8}" dt="2021-10-19T09:43:14.628" v="198" actId="2711"/>
          <ac:spMkLst>
            <pc:docMk/>
            <pc:sldMk cId="1860183250" sldId="377"/>
            <ac:spMk id="22" creationId="{B3F5B9B8-EDA8-430F-83AA-59E4DAA4DCA3}"/>
          </ac:spMkLst>
        </pc:spChg>
        <pc:spChg chg="add mod">
          <ac:chgData name="Meyer Raphael (PAR-ES)" userId="79615dfe-ed48-4e74-a40f-4f7b034c1c27" providerId="ADAL" clId="{A5E257DA-1DDD-4903-A2FA-1BDC090569F8}" dt="2021-10-19T09:44:14.570" v="206"/>
          <ac:spMkLst>
            <pc:docMk/>
            <pc:sldMk cId="1860183250" sldId="377"/>
            <ac:spMk id="23" creationId="{BB914326-7AE8-4E56-8D70-FE10C57F72D7}"/>
          </ac:spMkLst>
        </pc:spChg>
        <pc:spChg chg="mod">
          <ac:chgData name="Meyer Raphael (PAR-ES)" userId="79615dfe-ed48-4e74-a40f-4f7b034c1c27" providerId="ADAL" clId="{A5E257DA-1DDD-4903-A2FA-1BDC090569F8}" dt="2021-10-19T09:42:56.255" v="195" actId="2711"/>
          <ac:spMkLst>
            <pc:docMk/>
            <pc:sldMk cId="1860183250" sldId="377"/>
            <ac:spMk id="30" creationId="{4F4C31ED-0414-44F1-B84F-EA8394C10C0D}"/>
          </ac:spMkLst>
        </pc:spChg>
        <pc:graphicFrameChg chg="mod">
          <ac:chgData name="Meyer Raphael (PAR-ES)" userId="79615dfe-ed48-4e74-a40f-4f7b034c1c27" providerId="ADAL" clId="{A5E257DA-1DDD-4903-A2FA-1BDC090569F8}" dt="2021-10-19T10:49:46.899" v="262" actId="207"/>
          <ac:graphicFrameMkLst>
            <pc:docMk/>
            <pc:sldMk cId="1860183250" sldId="377"/>
            <ac:graphicFrameMk id="10" creationId="{E856299E-9B60-478F-8674-1045505692C4}"/>
          </ac:graphicFrameMkLst>
        </pc:graphicFrameChg>
      </pc:sldChg>
      <pc:sldChg chg="addSp delSp modSp add mod modShow">
        <pc:chgData name="Meyer Raphael (PAR-ES)" userId="79615dfe-ed48-4e74-a40f-4f7b034c1c27" providerId="ADAL" clId="{A5E257DA-1DDD-4903-A2FA-1BDC090569F8}" dt="2021-10-19T11:00:27.706" v="318" actId="729"/>
        <pc:sldMkLst>
          <pc:docMk/>
          <pc:sldMk cId="3254615737" sldId="378"/>
        </pc:sldMkLst>
        <pc:spChg chg="mod">
          <ac:chgData name="Meyer Raphael (PAR-ES)" userId="79615dfe-ed48-4e74-a40f-4f7b034c1c27" providerId="ADAL" clId="{A5E257DA-1DDD-4903-A2FA-1BDC090569F8}" dt="2021-10-19T11:00:10.408" v="317" actId="2711"/>
          <ac:spMkLst>
            <pc:docMk/>
            <pc:sldMk cId="3254615737" sldId="378"/>
            <ac:spMk id="2" creationId="{5E8A4EFD-4DC4-43AA-95D5-75F07C9AB845}"/>
          </ac:spMkLst>
        </pc:spChg>
        <pc:spChg chg="add del mod">
          <ac:chgData name="Meyer Raphael (PAR-ES)" userId="79615dfe-ed48-4e74-a40f-4f7b034c1c27" providerId="ADAL" clId="{A5E257DA-1DDD-4903-A2FA-1BDC090569F8}" dt="2021-10-19T10:58:28.759" v="297" actId="478"/>
          <ac:spMkLst>
            <pc:docMk/>
            <pc:sldMk cId="3254615737" sldId="378"/>
            <ac:spMk id="4" creationId="{BA55A192-82EF-469B-B729-E912E04AFBCA}"/>
          </ac:spMkLst>
        </pc:spChg>
        <pc:spChg chg="del mod">
          <ac:chgData name="Meyer Raphael (PAR-ES)" userId="79615dfe-ed48-4e74-a40f-4f7b034c1c27" providerId="ADAL" clId="{A5E257DA-1DDD-4903-A2FA-1BDC090569F8}" dt="2021-10-19T10:59:42.708" v="311" actId="478"/>
          <ac:spMkLst>
            <pc:docMk/>
            <pc:sldMk cId="3254615737" sldId="378"/>
            <ac:spMk id="6" creationId="{8C570F95-0775-4F12-8DDA-DD52CE7241CC}"/>
          </ac:spMkLst>
        </pc:spChg>
        <pc:spChg chg="mod">
          <ac:chgData name="Meyer Raphael (PAR-ES)" userId="79615dfe-ed48-4e74-a40f-4f7b034c1c27" providerId="ADAL" clId="{A5E257DA-1DDD-4903-A2FA-1BDC090569F8}" dt="2021-10-19T10:59:33.798" v="308" actId="2711"/>
          <ac:spMkLst>
            <pc:docMk/>
            <pc:sldMk cId="3254615737" sldId="378"/>
            <ac:spMk id="9" creationId="{42AA12ED-4579-4FE5-A07A-BC01B76928FB}"/>
          </ac:spMkLst>
        </pc:spChg>
        <pc:spChg chg="mod">
          <ac:chgData name="Meyer Raphael (PAR-ES)" userId="79615dfe-ed48-4e74-a40f-4f7b034c1c27" providerId="ADAL" clId="{A5E257DA-1DDD-4903-A2FA-1BDC090569F8}" dt="2021-10-19T10:59:28.362" v="306" actId="2711"/>
          <ac:spMkLst>
            <pc:docMk/>
            <pc:sldMk cId="3254615737" sldId="378"/>
            <ac:spMk id="12" creationId="{4DA2B71E-2CC2-4C38-BAAB-A71345A07B83}"/>
          </ac:spMkLst>
        </pc:spChg>
        <pc:spChg chg="mod">
          <ac:chgData name="Meyer Raphael (PAR-ES)" userId="79615dfe-ed48-4e74-a40f-4f7b034c1c27" providerId="ADAL" clId="{A5E257DA-1DDD-4903-A2FA-1BDC090569F8}" dt="2021-10-19T10:59:31.031" v="307" actId="2711"/>
          <ac:spMkLst>
            <pc:docMk/>
            <pc:sldMk cId="3254615737" sldId="378"/>
            <ac:spMk id="13" creationId="{B946C02A-50DE-42C7-A209-D603829BA4B1}"/>
          </ac:spMkLst>
        </pc:spChg>
        <pc:spChg chg="del mod">
          <ac:chgData name="Meyer Raphael (PAR-ES)" userId="79615dfe-ed48-4e74-a40f-4f7b034c1c27" providerId="ADAL" clId="{A5E257DA-1DDD-4903-A2FA-1BDC090569F8}" dt="2021-10-19T10:58:26.730" v="296" actId="478"/>
          <ac:spMkLst>
            <pc:docMk/>
            <pc:sldMk cId="3254615737" sldId="378"/>
            <ac:spMk id="19" creationId="{9FB4AF3B-D5AD-4F53-ABB0-E4CE1F5D8E5E}"/>
          </ac:spMkLst>
        </pc:spChg>
        <pc:spChg chg="del mod">
          <ac:chgData name="Meyer Raphael (PAR-ES)" userId="79615dfe-ed48-4e74-a40f-4f7b034c1c27" providerId="ADAL" clId="{A5E257DA-1DDD-4903-A2FA-1BDC090569F8}" dt="2021-10-19T10:58:32.145" v="298" actId="478"/>
          <ac:spMkLst>
            <pc:docMk/>
            <pc:sldMk cId="3254615737" sldId="378"/>
            <ac:spMk id="20" creationId="{6D955C95-B626-44C6-B064-0754E67E37CF}"/>
          </ac:spMkLst>
        </pc:spChg>
        <pc:spChg chg="mod">
          <ac:chgData name="Meyer Raphael (PAR-ES)" userId="79615dfe-ed48-4e74-a40f-4f7b034c1c27" providerId="ADAL" clId="{A5E257DA-1DDD-4903-A2FA-1BDC090569F8}" dt="2021-10-19T10:59:54.747" v="313" actId="2711"/>
          <ac:spMkLst>
            <pc:docMk/>
            <pc:sldMk cId="3254615737" sldId="378"/>
            <ac:spMk id="22" creationId="{B3F5B9B8-EDA8-430F-83AA-59E4DAA4DCA3}"/>
          </ac:spMkLst>
        </pc:spChg>
        <pc:spChg chg="add mod">
          <ac:chgData name="Meyer Raphael (PAR-ES)" userId="79615dfe-ed48-4e74-a40f-4f7b034c1c27" providerId="ADAL" clId="{A5E257DA-1DDD-4903-A2FA-1BDC090569F8}" dt="2021-10-19T10:58:21.994" v="295"/>
          <ac:spMkLst>
            <pc:docMk/>
            <pc:sldMk cId="3254615737" sldId="378"/>
            <ac:spMk id="23" creationId="{C7EA10FB-93CC-4AA7-954F-92959A012B4C}"/>
          </ac:spMkLst>
        </pc:spChg>
        <pc:spChg chg="add mod">
          <ac:chgData name="Meyer Raphael (PAR-ES)" userId="79615dfe-ed48-4e74-a40f-4f7b034c1c27" providerId="ADAL" clId="{A5E257DA-1DDD-4903-A2FA-1BDC090569F8}" dt="2021-10-19T10:59:48.365" v="312"/>
          <ac:spMkLst>
            <pc:docMk/>
            <pc:sldMk cId="3254615737" sldId="378"/>
            <ac:spMk id="25" creationId="{EC5C1B42-A4A4-41A8-BF9E-C3765099701D}"/>
          </ac:spMkLst>
        </pc:spChg>
        <pc:spChg chg="mod">
          <ac:chgData name="Meyer Raphael (PAR-ES)" userId="79615dfe-ed48-4e74-a40f-4f7b034c1c27" providerId="ADAL" clId="{A5E257DA-1DDD-4903-A2FA-1BDC090569F8}" dt="2021-10-19T11:00:07.349" v="316" actId="2711"/>
          <ac:spMkLst>
            <pc:docMk/>
            <pc:sldMk cId="3254615737" sldId="378"/>
            <ac:spMk id="30" creationId="{4F4C31ED-0414-44F1-B84F-EA8394C10C0D}"/>
          </ac:spMkLst>
        </pc:spChg>
        <pc:graphicFrameChg chg="mod">
          <ac:chgData name="Meyer Raphael (PAR-ES)" userId="79615dfe-ed48-4e74-a40f-4f7b034c1c27" providerId="ADAL" clId="{A5E257DA-1DDD-4903-A2FA-1BDC090569F8}" dt="2021-10-19T11:00:03.976" v="315" actId="2711"/>
          <ac:graphicFrameMkLst>
            <pc:docMk/>
            <pc:sldMk cId="3254615737" sldId="378"/>
            <ac:graphicFrameMk id="10" creationId="{E856299E-9B60-478F-8674-1045505692C4}"/>
          </ac:graphicFrameMkLst>
        </pc:graphicFrameChg>
      </pc:sldChg>
      <pc:sldMasterChg chg="addSp modSp mod">
        <pc:chgData name="Meyer Raphael (PAR-ES)" userId="79615dfe-ed48-4e74-a40f-4f7b034c1c27" providerId="ADAL" clId="{A5E257DA-1DDD-4903-A2FA-1BDC090569F8}" dt="2021-10-19T09:44:29.818" v="240"/>
        <pc:sldMasterMkLst>
          <pc:docMk/>
          <pc:sldMasterMk cId="3007821643" sldId="2147483676"/>
        </pc:sldMasterMkLst>
        <pc:spChg chg="add mod ord modVis">
          <ac:chgData name="Meyer Raphael (PAR-ES)" userId="79615dfe-ed48-4e74-a40f-4f7b034c1c27" providerId="ADAL" clId="{A5E257DA-1DDD-4903-A2FA-1BDC090569F8}" dt="2021-10-19T09:44:29.818" v="240"/>
          <ac:spMkLst>
            <pc:docMk/>
            <pc:sldMasterMk cId="3007821643" sldId="2147483676"/>
            <ac:spMk id="7" creationId="{5E12FC31-FC0C-4EA2-A0F0-EC04857B99CD}"/>
          </ac:spMkLst>
        </pc:spChg>
      </pc:sldMasterChg>
    </pc:docChg>
  </pc:docChgLst>
  <pc:docChgLst>
    <pc:chgData name="Meyer Raphael (PAR-ES)" userId="79615dfe-ed48-4e74-a40f-4f7b034c1c27" providerId="ADAL" clId="{E3FC3DEB-1D4B-4954-B173-EAAE82CEA38B}"/>
    <pc:docChg chg="modSld">
      <pc:chgData name="Meyer Raphael (PAR-ES)" userId="79615dfe-ed48-4e74-a40f-4f7b034c1c27" providerId="ADAL" clId="{E3FC3DEB-1D4B-4954-B173-EAAE82CEA38B}" dt="2021-10-12T12:31:06.200" v="1" actId="27918"/>
      <pc:docMkLst>
        <pc:docMk/>
      </pc:docMkLst>
      <pc:sldChg chg="mod">
        <pc:chgData name="Meyer Raphael (PAR-ES)" userId="79615dfe-ed48-4e74-a40f-4f7b034c1c27" providerId="ADAL" clId="{E3FC3DEB-1D4B-4954-B173-EAAE82CEA38B}" dt="2021-10-12T12:31:06.200" v="1" actId="27918"/>
        <pc:sldMkLst>
          <pc:docMk/>
          <pc:sldMk cId="3462026173" sldId="370"/>
        </pc:sldMkLst>
      </pc:sldChg>
    </pc:docChg>
  </pc:docChgLst>
  <pc:docChgLst>
    <pc:chgData name="Meyer Raphael (PAR-ES)" userId="79615dfe-ed48-4e74-a40f-4f7b034c1c27" providerId="ADAL" clId="{9E554EE2-F074-428C-8653-2CEE000EC49B}"/>
    <pc:docChg chg="undo custSel addSld delSld modSld sldOrd">
      <pc:chgData name="Meyer Raphael (PAR-ES)" userId="79615dfe-ed48-4e74-a40f-4f7b034c1c27" providerId="ADAL" clId="{9E554EE2-F074-428C-8653-2CEE000EC49B}" dt="2021-01-21T09:56:56.178" v="869" actId="2696"/>
      <pc:docMkLst>
        <pc:docMk/>
      </pc:docMkLst>
      <pc:sldChg chg="addSp delSp modSp mod ord modTransition">
        <pc:chgData name="Meyer Raphael (PAR-ES)" userId="79615dfe-ed48-4e74-a40f-4f7b034c1c27" providerId="ADAL" clId="{9E554EE2-F074-428C-8653-2CEE000EC49B}" dt="2021-01-12T08:27:33.493" v="521" actId="20577"/>
        <pc:sldMkLst>
          <pc:docMk/>
          <pc:sldMk cId="1495152177" sldId="298"/>
        </pc:sldMkLst>
        <pc:spChg chg="mod">
          <ac:chgData name="Meyer Raphael (PAR-ES)" userId="79615dfe-ed48-4e74-a40f-4f7b034c1c27" providerId="ADAL" clId="{9E554EE2-F074-428C-8653-2CEE000EC49B}" dt="2021-01-12T08:27:33.493" v="521" actId="20577"/>
          <ac:spMkLst>
            <pc:docMk/>
            <pc:sldMk cId="1495152177" sldId="298"/>
            <ac:spMk id="2" creationId="{A2DC317F-F1F4-4624-8FC1-3B68C1DBB3DA}"/>
          </ac:spMkLst>
        </pc:spChg>
        <pc:spChg chg="mod">
          <ac:chgData name="Meyer Raphael (PAR-ES)" userId="79615dfe-ed48-4e74-a40f-4f7b034c1c27" providerId="ADAL" clId="{9E554EE2-F074-428C-8653-2CEE000EC49B}" dt="2021-01-07T10:18:11.899" v="371" actId="6549"/>
          <ac:spMkLst>
            <pc:docMk/>
            <pc:sldMk cId="1495152177" sldId="298"/>
            <ac:spMk id="3" creationId="{BE9D54F3-F9D9-46AC-81D9-6B8F30D628E7}"/>
          </ac:spMkLst>
        </pc:spChg>
        <pc:spChg chg="add del mod">
          <ac:chgData name="Meyer Raphael (PAR-ES)" userId="79615dfe-ed48-4e74-a40f-4f7b034c1c27" providerId="ADAL" clId="{9E554EE2-F074-428C-8653-2CEE000EC49B}" dt="2021-01-07T10:15:39.319" v="362" actId="478"/>
          <ac:spMkLst>
            <pc:docMk/>
            <pc:sldMk cId="1495152177" sldId="298"/>
            <ac:spMk id="4" creationId="{B5CDCB28-CC66-4BCC-9EBC-5C934D9B0D1E}"/>
          </ac:spMkLst>
        </pc:spChg>
        <pc:spChg chg="add mod">
          <ac:chgData name="Meyer Raphael (PAR-ES)" userId="79615dfe-ed48-4e74-a40f-4f7b034c1c27" providerId="ADAL" clId="{9E554EE2-F074-428C-8653-2CEE000EC49B}" dt="2021-01-07T10:18:03.478" v="368" actId="1076"/>
          <ac:spMkLst>
            <pc:docMk/>
            <pc:sldMk cId="1495152177" sldId="298"/>
            <ac:spMk id="6" creationId="{0EEE4EA3-E16E-424B-97F9-53A8F5D585AE}"/>
          </ac:spMkLst>
        </pc:spChg>
        <pc:spChg chg="add mod">
          <ac:chgData name="Meyer Raphael (PAR-ES)" userId="79615dfe-ed48-4e74-a40f-4f7b034c1c27" providerId="ADAL" clId="{9E554EE2-F074-428C-8653-2CEE000EC49B}" dt="2021-01-07T10:19:33.283" v="393" actId="1076"/>
          <ac:spMkLst>
            <pc:docMk/>
            <pc:sldMk cId="1495152177" sldId="298"/>
            <ac:spMk id="7" creationId="{51421822-C303-4FC2-BF5E-F4377E568635}"/>
          </ac:spMkLst>
        </pc:spChg>
        <pc:spChg chg="mod">
          <ac:chgData name="Meyer Raphael (PAR-ES)" userId="79615dfe-ed48-4e74-a40f-4f7b034c1c27" providerId="ADAL" clId="{9E554EE2-F074-428C-8653-2CEE000EC49B}" dt="2021-01-07T08:59:46.360" v="316"/>
          <ac:spMkLst>
            <pc:docMk/>
            <pc:sldMk cId="1495152177" sldId="298"/>
            <ac:spMk id="10" creationId="{077DFD58-E5EE-4B68-9325-D935DB04DD40}"/>
          </ac:spMkLst>
        </pc:spChg>
        <pc:spChg chg="del">
          <ac:chgData name="Meyer Raphael (PAR-ES)" userId="79615dfe-ed48-4e74-a40f-4f7b034c1c27" providerId="ADAL" clId="{9E554EE2-F074-428C-8653-2CEE000EC49B}" dt="2021-01-07T08:59:10.815" v="309" actId="478"/>
          <ac:spMkLst>
            <pc:docMk/>
            <pc:sldMk cId="1495152177" sldId="298"/>
            <ac:spMk id="11" creationId="{216B739F-8150-4262-9342-2F1CBFEB8A15}"/>
          </ac:spMkLst>
        </pc:spChg>
        <pc:spChg chg="del">
          <ac:chgData name="Meyer Raphael (PAR-ES)" userId="79615dfe-ed48-4e74-a40f-4f7b034c1c27" providerId="ADAL" clId="{9E554EE2-F074-428C-8653-2CEE000EC49B}" dt="2021-01-07T08:59:12.811" v="310" actId="478"/>
          <ac:spMkLst>
            <pc:docMk/>
            <pc:sldMk cId="1495152177" sldId="298"/>
            <ac:spMk id="12" creationId="{466A77C5-3AD7-44B3-83A7-0B8FF87DCA70}"/>
          </ac:spMkLst>
        </pc:spChg>
        <pc:spChg chg="add del mod">
          <ac:chgData name="Meyer Raphael (PAR-ES)" userId="79615dfe-ed48-4e74-a40f-4f7b034c1c27" providerId="ADAL" clId="{9E554EE2-F074-428C-8653-2CEE000EC49B}" dt="2021-01-07T10:19:59.180" v="398" actId="478"/>
          <ac:spMkLst>
            <pc:docMk/>
            <pc:sldMk cId="1495152177" sldId="298"/>
            <ac:spMk id="14" creationId="{91C996E6-7B36-44FC-81CD-6AF9B6CF5D5F}"/>
          </ac:spMkLst>
        </pc:spChg>
        <pc:spChg chg="add mod">
          <ac:chgData name="Meyer Raphael (PAR-ES)" userId="79615dfe-ed48-4e74-a40f-4f7b034c1c27" providerId="ADAL" clId="{9E554EE2-F074-428C-8653-2CEE000EC49B}" dt="2021-01-07T10:23:57.923" v="430" actId="179"/>
          <ac:spMkLst>
            <pc:docMk/>
            <pc:sldMk cId="1495152177" sldId="298"/>
            <ac:spMk id="15" creationId="{CC1F0CCA-7B55-41F9-A1FF-769ED7C753BD}"/>
          </ac:spMkLst>
        </pc:spChg>
        <pc:spChg chg="del">
          <ac:chgData name="Meyer Raphael (PAR-ES)" userId="79615dfe-ed48-4e74-a40f-4f7b034c1c27" providerId="ADAL" clId="{9E554EE2-F074-428C-8653-2CEE000EC49B}" dt="2021-01-07T08:58:56.783" v="307" actId="478"/>
          <ac:spMkLst>
            <pc:docMk/>
            <pc:sldMk cId="1495152177" sldId="298"/>
            <ac:spMk id="16" creationId="{E0218AF3-B8F0-43F9-B56B-123AF027A635}"/>
          </ac:spMkLst>
        </pc:spChg>
        <pc:graphicFrameChg chg="mod">
          <ac:chgData name="Meyer Raphael (PAR-ES)" userId="79615dfe-ed48-4e74-a40f-4f7b034c1c27" providerId="ADAL" clId="{9E554EE2-F074-428C-8653-2CEE000EC49B}" dt="2021-01-07T10:17:49.084" v="367" actId="14100"/>
          <ac:graphicFrameMkLst>
            <pc:docMk/>
            <pc:sldMk cId="1495152177" sldId="298"/>
            <ac:graphicFrameMk id="5" creationId="{4CF6AB8B-CAB9-4C7E-8E59-E00357A4D7F0}"/>
          </ac:graphicFrameMkLst>
        </pc:graphicFrameChg>
        <pc:cxnChg chg="del">
          <ac:chgData name="Meyer Raphael (PAR-ES)" userId="79615dfe-ed48-4e74-a40f-4f7b034c1c27" providerId="ADAL" clId="{9E554EE2-F074-428C-8653-2CEE000EC49B}" dt="2021-01-07T08:58:58.386" v="308" actId="478"/>
          <ac:cxnSpMkLst>
            <pc:docMk/>
            <pc:sldMk cId="1495152177" sldId="298"/>
            <ac:cxnSpMk id="13" creationId="{B728F4DE-8CC6-4054-BA1D-EBF2119A4EBB}"/>
          </ac:cxnSpMkLst>
        </pc:cxnChg>
        <pc:cxnChg chg="del">
          <ac:chgData name="Meyer Raphael (PAR-ES)" userId="79615dfe-ed48-4e74-a40f-4f7b034c1c27" providerId="ADAL" clId="{9E554EE2-F074-428C-8653-2CEE000EC49B}" dt="2021-01-06T09:51:51.950" v="1" actId="478"/>
          <ac:cxnSpMkLst>
            <pc:docMk/>
            <pc:sldMk cId="1495152177" sldId="298"/>
            <ac:cxnSpMk id="17" creationId="{FC62769B-4223-45AE-B088-516EBE8DECCF}"/>
          </ac:cxnSpMkLst>
        </pc:cxnChg>
      </pc:sldChg>
      <pc:sldChg chg="addSp delSp modSp mod">
        <pc:chgData name="Meyer Raphael (PAR-ES)" userId="79615dfe-ed48-4e74-a40f-4f7b034c1c27" providerId="ADAL" clId="{9E554EE2-F074-428C-8653-2CEE000EC49B}" dt="2021-01-21T09:51:57.105" v="773" actId="1038"/>
        <pc:sldMkLst>
          <pc:docMk/>
          <pc:sldMk cId="1667945532" sldId="306"/>
        </pc:sldMkLst>
        <pc:spChg chg="mod">
          <ac:chgData name="Meyer Raphael (PAR-ES)" userId="79615dfe-ed48-4e74-a40f-4f7b034c1c27" providerId="ADAL" clId="{9E554EE2-F074-428C-8653-2CEE000EC49B}" dt="2021-01-21T09:37:42.772" v="577" actId="20577"/>
          <ac:spMkLst>
            <pc:docMk/>
            <pc:sldMk cId="1667945532" sldId="306"/>
            <ac:spMk id="8" creationId="{5857C2A1-2CB8-4D4A-AEFD-E809BF73D04F}"/>
          </ac:spMkLst>
        </pc:spChg>
        <pc:spChg chg="mod">
          <ac:chgData name="Meyer Raphael (PAR-ES)" userId="79615dfe-ed48-4e74-a40f-4f7b034c1c27" providerId="ADAL" clId="{9E554EE2-F074-428C-8653-2CEE000EC49B}" dt="2021-01-21T09:37:39.147" v="574" actId="20577"/>
          <ac:spMkLst>
            <pc:docMk/>
            <pc:sldMk cId="1667945532" sldId="306"/>
            <ac:spMk id="27" creationId="{46A6B042-39EE-4A58-BBAA-13D52264B660}"/>
          </ac:spMkLst>
        </pc:spChg>
        <pc:spChg chg="mod">
          <ac:chgData name="Meyer Raphael (PAR-ES)" userId="79615dfe-ed48-4e74-a40f-4f7b034c1c27" providerId="ADAL" clId="{9E554EE2-F074-428C-8653-2CEE000EC49B}" dt="2021-01-21T09:45:00.176" v="642" actId="1076"/>
          <ac:spMkLst>
            <pc:docMk/>
            <pc:sldMk cId="1667945532" sldId="306"/>
            <ac:spMk id="28" creationId="{4492A3CD-6943-423D-BFEC-8129889E8B6F}"/>
          </ac:spMkLst>
        </pc:spChg>
        <pc:spChg chg="mod">
          <ac:chgData name="Meyer Raphael (PAR-ES)" userId="79615dfe-ed48-4e74-a40f-4f7b034c1c27" providerId="ADAL" clId="{9E554EE2-F074-428C-8653-2CEE000EC49B}" dt="2021-01-21T09:43:08.678" v="622" actId="20577"/>
          <ac:spMkLst>
            <pc:docMk/>
            <pc:sldMk cId="1667945532" sldId="306"/>
            <ac:spMk id="31" creationId="{7491A47D-CAD4-478D-8F3A-296FFCB799F9}"/>
          </ac:spMkLst>
        </pc:spChg>
        <pc:spChg chg="mod">
          <ac:chgData name="Meyer Raphael (PAR-ES)" userId="79615dfe-ed48-4e74-a40f-4f7b034c1c27" providerId="ADAL" clId="{9E554EE2-F074-428C-8653-2CEE000EC49B}" dt="2021-01-21T09:43:25.126" v="625" actId="1076"/>
          <ac:spMkLst>
            <pc:docMk/>
            <pc:sldMk cId="1667945532" sldId="306"/>
            <ac:spMk id="32" creationId="{E65DDA4F-7190-4D5B-B875-6818D18C9F6E}"/>
          </ac:spMkLst>
        </pc:spChg>
        <pc:spChg chg="add mod">
          <ac:chgData name="Meyer Raphael (PAR-ES)" userId="79615dfe-ed48-4e74-a40f-4f7b034c1c27" providerId="ADAL" clId="{9E554EE2-F074-428C-8653-2CEE000EC49B}" dt="2021-01-21T09:48:18.562" v="748" actId="552"/>
          <ac:spMkLst>
            <pc:docMk/>
            <pc:sldMk cId="1667945532" sldId="306"/>
            <ac:spMk id="33" creationId="{1263211D-7647-4ACE-B729-2338DF0FFB67}"/>
          </ac:spMkLst>
        </pc:spChg>
        <pc:spChg chg="del">
          <ac:chgData name="Meyer Raphael (PAR-ES)" userId="79615dfe-ed48-4e74-a40f-4f7b034c1c27" providerId="ADAL" clId="{9E554EE2-F074-428C-8653-2CEE000EC49B}" dt="2021-01-06T15:16:17.764" v="114" actId="478"/>
          <ac:spMkLst>
            <pc:docMk/>
            <pc:sldMk cId="1667945532" sldId="306"/>
            <ac:spMk id="33" creationId="{A80F7DEC-022D-4493-8CDE-E61BC06E6C43}"/>
          </ac:spMkLst>
        </pc:spChg>
        <pc:spChg chg="add del mod">
          <ac:chgData name="Meyer Raphael (PAR-ES)" userId="79615dfe-ed48-4e74-a40f-4f7b034c1c27" providerId="ADAL" clId="{9E554EE2-F074-428C-8653-2CEE000EC49B}" dt="2021-01-21T09:48:12.284" v="747" actId="478"/>
          <ac:spMkLst>
            <pc:docMk/>
            <pc:sldMk cId="1667945532" sldId="306"/>
            <ac:spMk id="36" creationId="{863FB436-F43E-46B0-806B-F99C48F0B088}"/>
          </ac:spMkLst>
        </pc:spChg>
        <pc:spChg chg="mod">
          <ac:chgData name="Meyer Raphael (PAR-ES)" userId="79615dfe-ed48-4e74-a40f-4f7b034c1c27" providerId="ADAL" clId="{9E554EE2-F074-428C-8653-2CEE000EC49B}" dt="2021-01-21T09:48:18.562" v="748" actId="552"/>
          <ac:spMkLst>
            <pc:docMk/>
            <pc:sldMk cId="1667945532" sldId="306"/>
            <ac:spMk id="37" creationId="{16628D91-C37D-41C8-A84A-DDEB3E2C1246}"/>
          </ac:spMkLst>
        </pc:spChg>
        <pc:graphicFrameChg chg="mod">
          <ac:chgData name="Meyer Raphael (PAR-ES)" userId="79615dfe-ed48-4e74-a40f-4f7b034c1c27" providerId="ADAL" clId="{9E554EE2-F074-428C-8653-2CEE000EC49B}" dt="2021-01-06T15:19:03.513" v="119" actId="692"/>
          <ac:graphicFrameMkLst>
            <pc:docMk/>
            <pc:sldMk cId="1667945532" sldId="306"/>
            <ac:graphicFrameMk id="24" creationId="{B6049B58-D743-4BF8-ADBD-2CBD12961E56}"/>
          </ac:graphicFrameMkLst>
        </pc:graphicFrameChg>
        <pc:cxnChg chg="mod">
          <ac:chgData name="Meyer Raphael (PAR-ES)" userId="79615dfe-ed48-4e74-a40f-4f7b034c1c27" providerId="ADAL" clId="{9E554EE2-F074-428C-8653-2CEE000EC49B}" dt="2021-01-21T09:51:23.619" v="766" actId="14100"/>
          <ac:cxnSpMkLst>
            <pc:docMk/>
            <pc:sldMk cId="1667945532" sldId="306"/>
            <ac:cxnSpMk id="29" creationId="{FD3E902F-283F-48FC-9504-FF2FF4EA4BF0}"/>
          </ac:cxnSpMkLst>
        </pc:cxnChg>
        <pc:cxnChg chg="mod">
          <ac:chgData name="Meyer Raphael (PAR-ES)" userId="79615dfe-ed48-4e74-a40f-4f7b034c1c27" providerId="ADAL" clId="{9E554EE2-F074-428C-8653-2CEE000EC49B}" dt="2021-01-21T09:51:57.105" v="773" actId="1038"/>
          <ac:cxnSpMkLst>
            <pc:docMk/>
            <pc:sldMk cId="1667945532" sldId="306"/>
            <ac:cxnSpMk id="30" creationId="{1D702FCA-793F-404B-84D5-F14C318BFFB3}"/>
          </ac:cxnSpMkLst>
        </pc:cxnChg>
      </pc:sldChg>
      <pc:sldChg chg="addSp modSp del ord">
        <pc:chgData name="Meyer Raphael (PAR-ES)" userId="79615dfe-ed48-4e74-a40f-4f7b034c1c27" providerId="ADAL" clId="{9E554EE2-F074-428C-8653-2CEE000EC49B}" dt="2021-01-07T07:48:23.034" v="224" actId="2696"/>
        <pc:sldMkLst>
          <pc:docMk/>
          <pc:sldMk cId="2802950074" sldId="315"/>
        </pc:sldMkLst>
        <pc:spChg chg="add mod">
          <ac:chgData name="Meyer Raphael (PAR-ES)" userId="79615dfe-ed48-4e74-a40f-4f7b034c1c27" providerId="ADAL" clId="{9E554EE2-F074-428C-8653-2CEE000EC49B}" dt="2021-01-06T17:05:30.657" v="209" actId="1076"/>
          <ac:spMkLst>
            <pc:docMk/>
            <pc:sldMk cId="2802950074" sldId="315"/>
            <ac:spMk id="3" creationId="{14E2C8E9-A1CC-44E6-8847-DA46874519E7}"/>
          </ac:spMkLst>
        </pc:spChg>
      </pc:sldChg>
      <pc:sldChg chg="addSp modSp del ord">
        <pc:chgData name="Meyer Raphael (PAR-ES)" userId="79615dfe-ed48-4e74-a40f-4f7b034c1c27" providerId="ADAL" clId="{9E554EE2-F074-428C-8653-2CEE000EC49B}" dt="2021-01-07T07:52:11.656" v="257" actId="2696"/>
        <pc:sldMkLst>
          <pc:docMk/>
          <pc:sldMk cId="3685268070" sldId="316"/>
        </pc:sldMkLst>
        <pc:spChg chg="add">
          <ac:chgData name="Meyer Raphael (PAR-ES)" userId="79615dfe-ed48-4e74-a40f-4f7b034c1c27" providerId="ADAL" clId="{9E554EE2-F074-428C-8653-2CEE000EC49B}" dt="2021-01-06T17:05:35.092" v="210"/>
          <ac:spMkLst>
            <pc:docMk/>
            <pc:sldMk cId="3685268070" sldId="316"/>
            <ac:spMk id="26" creationId="{E5D600FA-46CA-4EA1-9786-9B83ADB316DE}"/>
          </ac:spMkLst>
        </pc:spChg>
        <pc:spChg chg="add mod">
          <ac:chgData name="Meyer Raphael (PAR-ES)" userId="79615dfe-ed48-4e74-a40f-4f7b034c1c27" providerId="ADAL" clId="{9E554EE2-F074-428C-8653-2CEE000EC49B}" dt="2021-01-07T07:51:32.069" v="254" actId="1037"/>
          <ac:spMkLst>
            <pc:docMk/>
            <pc:sldMk cId="3685268070" sldId="316"/>
            <ac:spMk id="33" creationId="{4AD41BCF-05A3-491A-83AE-D05E92731014}"/>
          </ac:spMkLst>
        </pc:spChg>
        <pc:spChg chg="add mod">
          <ac:chgData name="Meyer Raphael (PAR-ES)" userId="79615dfe-ed48-4e74-a40f-4f7b034c1c27" providerId="ADAL" clId="{9E554EE2-F074-428C-8653-2CEE000EC49B}" dt="2021-01-07T07:51:32.069" v="254" actId="1037"/>
          <ac:spMkLst>
            <pc:docMk/>
            <pc:sldMk cId="3685268070" sldId="316"/>
            <ac:spMk id="37" creationId="{B2368178-7E32-42ED-8240-6A780FFF3D89}"/>
          </ac:spMkLst>
        </pc:spChg>
      </pc:sldChg>
      <pc:sldChg chg="addSp delSp modSp add del">
        <pc:chgData name="Meyer Raphael (PAR-ES)" userId="79615dfe-ed48-4e74-a40f-4f7b034c1c27" providerId="ADAL" clId="{9E554EE2-F074-428C-8653-2CEE000EC49B}" dt="2021-01-21T09:51:04.311" v="765" actId="2696"/>
        <pc:sldMkLst>
          <pc:docMk/>
          <pc:sldMk cId="4002282341" sldId="317"/>
        </pc:sldMkLst>
        <pc:spChg chg="mod">
          <ac:chgData name="Meyer Raphael (PAR-ES)" userId="79615dfe-ed48-4e74-a40f-4f7b034c1c27" providerId="ADAL" clId="{9E554EE2-F074-428C-8653-2CEE000EC49B}" dt="2021-01-07T07:46:17.135" v="215"/>
          <ac:spMkLst>
            <pc:docMk/>
            <pc:sldMk cId="4002282341" sldId="317"/>
            <ac:spMk id="2" creationId="{A2DC317F-F1F4-4624-8FC1-3B68C1DBB3DA}"/>
          </ac:spMkLst>
        </pc:spChg>
        <pc:spChg chg="del">
          <ac:chgData name="Meyer Raphael (PAR-ES)" userId="79615dfe-ed48-4e74-a40f-4f7b034c1c27" providerId="ADAL" clId="{9E554EE2-F074-428C-8653-2CEE000EC49B}" dt="2021-01-07T07:46:49.468" v="217" actId="478"/>
          <ac:spMkLst>
            <pc:docMk/>
            <pc:sldMk cId="4002282341" sldId="317"/>
            <ac:spMk id="7" creationId="{BA3F9A72-0541-4D1F-8CD8-1C2B8074FA1B}"/>
          </ac:spMkLst>
        </pc:spChg>
        <pc:spChg chg="mod">
          <ac:chgData name="Meyer Raphael (PAR-ES)" userId="79615dfe-ed48-4e74-a40f-4f7b034c1c27" providerId="ADAL" clId="{9E554EE2-F074-428C-8653-2CEE000EC49B}" dt="2021-01-07T07:47:14.787" v="220" actId="14100"/>
          <ac:spMkLst>
            <pc:docMk/>
            <pc:sldMk cId="4002282341" sldId="317"/>
            <ac:spMk id="8" creationId="{5857C2A1-2CB8-4D4A-AEFD-E809BF73D04F}"/>
          </ac:spMkLst>
        </pc:spChg>
        <pc:spChg chg="del">
          <ac:chgData name="Meyer Raphael (PAR-ES)" userId="79615dfe-ed48-4e74-a40f-4f7b034c1c27" providerId="ADAL" clId="{9E554EE2-F074-428C-8653-2CEE000EC49B}" dt="2021-01-07T07:46:49.468" v="217" actId="478"/>
          <ac:spMkLst>
            <pc:docMk/>
            <pc:sldMk cId="4002282341" sldId="317"/>
            <ac:spMk id="9" creationId="{B6990B61-32B2-4ADC-BF01-EDF7B4080F97}"/>
          </ac:spMkLst>
        </pc:spChg>
        <pc:spChg chg="mod">
          <ac:chgData name="Meyer Raphael (PAR-ES)" userId="79615dfe-ed48-4e74-a40f-4f7b034c1c27" providerId="ADAL" clId="{9E554EE2-F074-428C-8653-2CEE000EC49B}" dt="2021-01-07T07:46:28.892" v="216"/>
          <ac:spMkLst>
            <pc:docMk/>
            <pc:sldMk cId="4002282341" sldId="317"/>
            <ac:spMk id="10" creationId="{077DFD58-E5EE-4B68-9325-D935DB04DD40}"/>
          </ac:spMkLst>
        </pc:spChg>
        <pc:spChg chg="del">
          <ac:chgData name="Meyer Raphael (PAR-ES)" userId="79615dfe-ed48-4e74-a40f-4f7b034c1c27" providerId="ADAL" clId="{9E554EE2-F074-428C-8653-2CEE000EC49B}" dt="2021-01-07T07:46:49.468" v="217" actId="478"/>
          <ac:spMkLst>
            <pc:docMk/>
            <pc:sldMk cId="4002282341" sldId="317"/>
            <ac:spMk id="17" creationId="{785E740C-F94A-4208-8DFD-63A603C16577}"/>
          </ac:spMkLst>
        </pc:spChg>
        <pc:spChg chg="del">
          <ac:chgData name="Meyer Raphael (PAR-ES)" userId="79615dfe-ed48-4e74-a40f-4f7b034c1c27" providerId="ADAL" clId="{9E554EE2-F074-428C-8653-2CEE000EC49B}" dt="2021-01-07T07:46:49.468" v="217" actId="478"/>
          <ac:spMkLst>
            <pc:docMk/>
            <pc:sldMk cId="4002282341" sldId="317"/>
            <ac:spMk id="26" creationId="{BFD498B5-D73E-4C8A-9FAF-B3547647538C}"/>
          </ac:spMkLst>
        </pc:spChg>
        <pc:spChg chg="mod">
          <ac:chgData name="Meyer Raphael (PAR-ES)" userId="79615dfe-ed48-4e74-a40f-4f7b034c1c27" providerId="ADAL" clId="{9E554EE2-F074-428C-8653-2CEE000EC49B}" dt="2021-01-07T07:47:30.035" v="221"/>
          <ac:spMkLst>
            <pc:docMk/>
            <pc:sldMk cId="4002282341" sldId="317"/>
            <ac:spMk id="27" creationId="{46A6B042-39EE-4A58-BBAA-13D52264B660}"/>
          </ac:spMkLst>
        </pc:spChg>
        <pc:spChg chg="add">
          <ac:chgData name="Meyer Raphael (PAR-ES)" userId="79615dfe-ed48-4e74-a40f-4f7b034c1c27" providerId="ADAL" clId="{9E554EE2-F074-428C-8653-2CEE000EC49B}" dt="2021-01-07T07:47:01.095" v="218"/>
          <ac:spMkLst>
            <pc:docMk/>
            <pc:sldMk cId="4002282341" sldId="317"/>
            <ac:spMk id="33" creationId="{58CCEB20-61A6-4ADF-A55A-701CA7752C4F}"/>
          </ac:spMkLst>
        </pc:spChg>
        <pc:spChg chg="add">
          <ac:chgData name="Meyer Raphael (PAR-ES)" userId="79615dfe-ed48-4e74-a40f-4f7b034c1c27" providerId="ADAL" clId="{9E554EE2-F074-428C-8653-2CEE000EC49B}" dt="2021-01-07T07:47:01.095" v="218"/>
          <ac:spMkLst>
            <pc:docMk/>
            <pc:sldMk cId="4002282341" sldId="317"/>
            <ac:spMk id="38" creationId="{833A0CCD-5D5F-45A1-A5EC-4A0473EC3778}"/>
          </ac:spMkLst>
        </pc:spChg>
        <pc:spChg chg="add">
          <ac:chgData name="Meyer Raphael (PAR-ES)" userId="79615dfe-ed48-4e74-a40f-4f7b034c1c27" providerId="ADAL" clId="{9E554EE2-F074-428C-8653-2CEE000EC49B}" dt="2021-01-07T07:47:01.095" v="218"/>
          <ac:spMkLst>
            <pc:docMk/>
            <pc:sldMk cId="4002282341" sldId="317"/>
            <ac:spMk id="39" creationId="{A5C99738-3034-4B43-9EEA-6B1B8BD3E2ED}"/>
          </ac:spMkLst>
        </pc:spChg>
        <pc:spChg chg="add">
          <ac:chgData name="Meyer Raphael (PAR-ES)" userId="79615dfe-ed48-4e74-a40f-4f7b034c1c27" providerId="ADAL" clId="{9E554EE2-F074-428C-8653-2CEE000EC49B}" dt="2021-01-07T07:47:01.095" v="218"/>
          <ac:spMkLst>
            <pc:docMk/>
            <pc:sldMk cId="4002282341" sldId="317"/>
            <ac:spMk id="40" creationId="{C22B499A-D29F-413A-BED8-752713A912E6}"/>
          </ac:spMkLst>
        </pc:spChg>
        <pc:cxnChg chg="mod">
          <ac:chgData name="Meyer Raphael (PAR-ES)" userId="79615dfe-ed48-4e74-a40f-4f7b034c1c27" providerId="ADAL" clId="{9E554EE2-F074-428C-8653-2CEE000EC49B}" dt="2021-01-07T07:50:56.983" v="248" actId="1038"/>
          <ac:cxnSpMkLst>
            <pc:docMk/>
            <pc:sldMk cId="4002282341" sldId="317"/>
            <ac:cxnSpMk id="30" creationId="{1D702FCA-793F-404B-84D5-F14C318BFFB3}"/>
          </ac:cxnSpMkLst>
        </pc:cxnChg>
      </pc:sldChg>
      <pc:sldChg chg="addSp delSp modSp add del">
        <pc:chgData name="Meyer Raphael (PAR-ES)" userId="79615dfe-ed48-4e74-a40f-4f7b034c1c27" providerId="ADAL" clId="{9E554EE2-F074-428C-8653-2CEE000EC49B}" dt="2021-01-21T09:56:56.178" v="869" actId="2696"/>
        <pc:sldMkLst>
          <pc:docMk/>
          <pc:sldMk cId="2645933736" sldId="318"/>
        </pc:sldMkLst>
        <pc:spChg chg="mod">
          <ac:chgData name="Meyer Raphael (PAR-ES)" userId="79615dfe-ed48-4e74-a40f-4f7b034c1c27" providerId="ADAL" clId="{9E554EE2-F074-428C-8653-2CEE000EC49B}" dt="2021-01-07T07:48:48.206" v="225"/>
          <ac:spMkLst>
            <pc:docMk/>
            <pc:sldMk cId="2645933736" sldId="318"/>
            <ac:spMk id="2" creationId="{A2DC317F-F1F4-4624-8FC1-3B68C1DBB3DA}"/>
          </ac:spMkLst>
        </pc:spChg>
        <pc:spChg chg="add del">
          <ac:chgData name="Meyer Raphael (PAR-ES)" userId="79615dfe-ed48-4e74-a40f-4f7b034c1c27" providerId="ADAL" clId="{9E554EE2-F074-428C-8653-2CEE000EC49B}" dt="2021-01-07T07:51:24.201" v="251"/>
          <ac:spMkLst>
            <pc:docMk/>
            <pc:sldMk cId="2645933736" sldId="318"/>
            <ac:spMk id="6" creationId="{C4599114-3BAB-4799-8583-AC60FF73F79E}"/>
          </ac:spMkLst>
        </pc:spChg>
        <pc:spChg chg="del mod">
          <ac:chgData name="Meyer Raphael (PAR-ES)" userId="79615dfe-ed48-4e74-a40f-4f7b034c1c27" providerId="ADAL" clId="{9E554EE2-F074-428C-8653-2CEE000EC49B}" dt="2021-01-07T07:49:07.205" v="228" actId="478"/>
          <ac:spMkLst>
            <pc:docMk/>
            <pc:sldMk cId="2645933736" sldId="318"/>
            <ac:spMk id="7" creationId="{BA3F9A72-0541-4D1F-8CD8-1C2B8074FA1B}"/>
          </ac:spMkLst>
        </pc:spChg>
        <pc:spChg chg="mod">
          <ac:chgData name="Meyer Raphael (PAR-ES)" userId="79615dfe-ed48-4e74-a40f-4f7b034c1c27" providerId="ADAL" clId="{9E554EE2-F074-428C-8653-2CEE000EC49B}" dt="2021-01-07T07:49:29.159" v="231" actId="14100"/>
          <ac:spMkLst>
            <pc:docMk/>
            <pc:sldMk cId="2645933736" sldId="318"/>
            <ac:spMk id="8" creationId="{5857C2A1-2CB8-4D4A-AEFD-E809BF73D04F}"/>
          </ac:spMkLst>
        </pc:spChg>
        <pc:spChg chg="del mod">
          <ac:chgData name="Meyer Raphael (PAR-ES)" userId="79615dfe-ed48-4e74-a40f-4f7b034c1c27" providerId="ADAL" clId="{9E554EE2-F074-428C-8653-2CEE000EC49B}" dt="2021-01-07T07:49:07.205" v="228" actId="478"/>
          <ac:spMkLst>
            <pc:docMk/>
            <pc:sldMk cId="2645933736" sldId="318"/>
            <ac:spMk id="9" creationId="{B6990B61-32B2-4ADC-BF01-EDF7B4080F97}"/>
          </ac:spMkLst>
        </pc:spChg>
        <pc:spChg chg="mod">
          <ac:chgData name="Meyer Raphael (PAR-ES)" userId="79615dfe-ed48-4e74-a40f-4f7b034c1c27" providerId="ADAL" clId="{9E554EE2-F074-428C-8653-2CEE000EC49B}" dt="2021-01-07T07:49:00.065" v="226"/>
          <ac:spMkLst>
            <pc:docMk/>
            <pc:sldMk cId="2645933736" sldId="318"/>
            <ac:spMk id="10" creationId="{077DFD58-E5EE-4B68-9325-D935DB04DD40}"/>
          </ac:spMkLst>
        </pc:spChg>
        <pc:spChg chg="del mod">
          <ac:chgData name="Meyer Raphael (PAR-ES)" userId="79615dfe-ed48-4e74-a40f-4f7b034c1c27" providerId="ADAL" clId="{9E554EE2-F074-428C-8653-2CEE000EC49B}" dt="2021-01-07T07:49:07.205" v="228" actId="478"/>
          <ac:spMkLst>
            <pc:docMk/>
            <pc:sldMk cId="2645933736" sldId="318"/>
            <ac:spMk id="17" creationId="{785E740C-F94A-4208-8DFD-63A603C16577}"/>
          </ac:spMkLst>
        </pc:spChg>
        <pc:spChg chg="del">
          <ac:chgData name="Meyer Raphael (PAR-ES)" userId="79615dfe-ed48-4e74-a40f-4f7b034c1c27" providerId="ADAL" clId="{9E554EE2-F074-428C-8653-2CEE000EC49B}" dt="2021-01-07T07:49:07.205" v="228" actId="478"/>
          <ac:spMkLst>
            <pc:docMk/>
            <pc:sldMk cId="2645933736" sldId="318"/>
            <ac:spMk id="26" creationId="{BFD498B5-D73E-4C8A-9FAF-B3547647538C}"/>
          </ac:spMkLst>
        </pc:spChg>
        <pc:spChg chg="mod">
          <ac:chgData name="Meyer Raphael (PAR-ES)" userId="79615dfe-ed48-4e74-a40f-4f7b034c1c27" providerId="ADAL" clId="{9E554EE2-F074-428C-8653-2CEE000EC49B}" dt="2021-01-07T07:49:51.343" v="235" actId="14100"/>
          <ac:spMkLst>
            <pc:docMk/>
            <pc:sldMk cId="2645933736" sldId="318"/>
            <ac:spMk id="27" creationId="{46A6B042-39EE-4A58-BBAA-13D52264B660}"/>
          </ac:spMkLst>
        </pc:spChg>
        <pc:spChg chg="add mod">
          <ac:chgData name="Meyer Raphael (PAR-ES)" userId="79615dfe-ed48-4e74-a40f-4f7b034c1c27" providerId="ADAL" clId="{9E554EE2-F074-428C-8653-2CEE000EC49B}" dt="2021-01-21T09:53:09.666" v="784" actId="1076"/>
          <ac:spMkLst>
            <pc:docMk/>
            <pc:sldMk cId="2645933736" sldId="318"/>
            <ac:spMk id="33" creationId="{80E2488D-C047-4150-AC1F-D4E89DE99EA0}"/>
          </ac:spMkLst>
        </pc:spChg>
        <pc:spChg chg="del">
          <ac:chgData name="Meyer Raphael (PAR-ES)" userId="79615dfe-ed48-4e74-a40f-4f7b034c1c27" providerId="ADAL" clId="{9E554EE2-F074-428C-8653-2CEE000EC49B}" dt="2021-01-07T07:51:21.013" v="249" actId="478"/>
          <ac:spMkLst>
            <pc:docMk/>
            <pc:sldMk cId="2645933736" sldId="318"/>
            <ac:spMk id="36" creationId="{863FB436-F43E-46B0-806B-F99C48F0B088}"/>
          </ac:spMkLst>
        </pc:spChg>
        <pc:spChg chg="del">
          <ac:chgData name="Meyer Raphael (PAR-ES)" userId="79615dfe-ed48-4e74-a40f-4f7b034c1c27" providerId="ADAL" clId="{9E554EE2-F074-428C-8653-2CEE000EC49B}" dt="2021-01-07T07:51:21.013" v="249" actId="478"/>
          <ac:spMkLst>
            <pc:docMk/>
            <pc:sldMk cId="2645933736" sldId="318"/>
            <ac:spMk id="37" creationId="{16628D91-C37D-41C8-A84A-DDEB3E2C1246}"/>
          </ac:spMkLst>
        </pc:spChg>
        <pc:spChg chg="add mod">
          <ac:chgData name="Meyer Raphael (PAR-ES)" userId="79615dfe-ed48-4e74-a40f-4f7b034c1c27" providerId="ADAL" clId="{9E554EE2-F074-428C-8653-2CEE000EC49B}" dt="2021-01-21T09:53:09.666" v="784" actId="1076"/>
          <ac:spMkLst>
            <pc:docMk/>
            <pc:sldMk cId="2645933736" sldId="318"/>
            <ac:spMk id="38" creationId="{433E5755-DF97-4935-B55B-8FE60687245C}"/>
          </ac:spMkLst>
        </pc:spChg>
        <pc:spChg chg="add">
          <ac:chgData name="Meyer Raphael (PAR-ES)" userId="79615dfe-ed48-4e74-a40f-4f7b034c1c27" providerId="ADAL" clId="{9E554EE2-F074-428C-8653-2CEE000EC49B}" dt="2021-01-07T07:49:15.818" v="229"/>
          <ac:spMkLst>
            <pc:docMk/>
            <pc:sldMk cId="2645933736" sldId="318"/>
            <ac:spMk id="39" creationId="{FE186E75-D186-4772-93F4-4F2F80AEAE50}"/>
          </ac:spMkLst>
        </pc:spChg>
        <pc:spChg chg="add">
          <ac:chgData name="Meyer Raphael (PAR-ES)" userId="79615dfe-ed48-4e74-a40f-4f7b034c1c27" providerId="ADAL" clId="{9E554EE2-F074-428C-8653-2CEE000EC49B}" dt="2021-01-07T07:49:15.818" v="229"/>
          <ac:spMkLst>
            <pc:docMk/>
            <pc:sldMk cId="2645933736" sldId="318"/>
            <ac:spMk id="40" creationId="{805111CA-E54D-40DD-845E-7DC257217600}"/>
          </ac:spMkLst>
        </pc:spChg>
        <pc:spChg chg="add mod">
          <ac:chgData name="Meyer Raphael (PAR-ES)" userId="79615dfe-ed48-4e74-a40f-4f7b034c1c27" providerId="ADAL" clId="{9E554EE2-F074-428C-8653-2CEE000EC49B}" dt="2021-01-07T07:53:31.415" v="306" actId="552"/>
          <ac:spMkLst>
            <pc:docMk/>
            <pc:sldMk cId="2645933736" sldId="318"/>
            <ac:spMk id="41" creationId="{D401EFED-E703-4D49-956F-221AF9E5347F}"/>
          </ac:spMkLst>
        </pc:spChg>
        <pc:spChg chg="add del mod">
          <ac:chgData name="Meyer Raphael (PAR-ES)" userId="79615dfe-ed48-4e74-a40f-4f7b034c1c27" providerId="ADAL" clId="{9E554EE2-F074-428C-8653-2CEE000EC49B}" dt="2021-01-07T07:53:14.057" v="271" actId="478"/>
          <ac:spMkLst>
            <pc:docMk/>
            <pc:sldMk cId="2645933736" sldId="318"/>
            <ac:spMk id="42" creationId="{FEB90A47-59A6-4994-B4EA-3CF72EB320B2}"/>
          </ac:spMkLst>
        </pc:spChg>
        <pc:spChg chg="add mod">
          <ac:chgData name="Meyer Raphael (PAR-ES)" userId="79615dfe-ed48-4e74-a40f-4f7b034c1c27" providerId="ADAL" clId="{9E554EE2-F074-428C-8653-2CEE000EC49B}" dt="2021-01-07T07:53:31.415" v="306" actId="552"/>
          <ac:spMkLst>
            <pc:docMk/>
            <pc:sldMk cId="2645933736" sldId="318"/>
            <ac:spMk id="43" creationId="{791E4A68-9F08-41F1-A948-D70410F3E3E7}"/>
          </ac:spMkLst>
        </pc:spChg>
        <pc:cxnChg chg="mod">
          <ac:chgData name="Meyer Raphael (PAR-ES)" userId="79615dfe-ed48-4e74-a40f-4f7b034c1c27" providerId="ADAL" clId="{9E554EE2-F074-428C-8653-2CEE000EC49B}" dt="2021-01-07T07:50:33.944" v="242" actId="1038"/>
          <ac:cxnSpMkLst>
            <pc:docMk/>
            <pc:sldMk cId="2645933736" sldId="318"/>
            <ac:cxnSpMk id="30" creationId="{1D702FCA-793F-404B-84D5-F14C318BFFB3}"/>
          </ac:cxnSpMkLst>
        </pc:cxnChg>
      </pc:sldChg>
      <pc:sldChg chg="modSp add mod">
        <pc:chgData name="Meyer Raphael (PAR-ES)" userId="79615dfe-ed48-4e74-a40f-4f7b034c1c27" providerId="ADAL" clId="{9E554EE2-F074-428C-8653-2CEE000EC49B}" dt="2021-01-12T08:30:20.013" v="532" actId="20577"/>
        <pc:sldMkLst>
          <pc:docMk/>
          <pc:sldMk cId="2817904021" sldId="319"/>
        </pc:sldMkLst>
        <pc:spChg chg="mod">
          <ac:chgData name="Meyer Raphael (PAR-ES)" userId="79615dfe-ed48-4e74-a40f-4f7b034c1c27" providerId="ADAL" clId="{9E554EE2-F074-428C-8653-2CEE000EC49B}" dt="2021-01-12T08:30:20.013" v="532" actId="20577"/>
          <ac:spMkLst>
            <pc:docMk/>
            <pc:sldMk cId="2817904021" sldId="319"/>
            <ac:spMk id="2" creationId="{A2DC317F-F1F4-4624-8FC1-3B68C1DBB3DA}"/>
          </ac:spMkLst>
        </pc:spChg>
        <pc:spChg chg="mod">
          <ac:chgData name="Meyer Raphael (PAR-ES)" userId="79615dfe-ed48-4e74-a40f-4f7b034c1c27" providerId="ADAL" clId="{9E554EE2-F074-428C-8653-2CEE000EC49B}" dt="2021-01-07T10:26:38.089" v="449" actId="20577"/>
          <ac:spMkLst>
            <pc:docMk/>
            <pc:sldMk cId="2817904021" sldId="319"/>
            <ac:spMk id="7" creationId="{51421822-C303-4FC2-BF5E-F4377E568635}"/>
          </ac:spMkLst>
        </pc:spChg>
        <pc:spChg chg="mod">
          <ac:chgData name="Meyer Raphael (PAR-ES)" userId="79615dfe-ed48-4e74-a40f-4f7b034c1c27" providerId="ADAL" clId="{9E554EE2-F074-428C-8653-2CEE000EC49B}" dt="2021-01-07T10:25:43.574" v="435"/>
          <ac:spMkLst>
            <pc:docMk/>
            <pc:sldMk cId="2817904021" sldId="319"/>
            <ac:spMk id="10" creationId="{077DFD58-E5EE-4B68-9325-D935DB04DD40}"/>
          </ac:spMkLst>
        </pc:spChg>
      </pc:sldChg>
      <pc:sldChg chg="modSp add mod">
        <pc:chgData name="Meyer Raphael (PAR-ES)" userId="79615dfe-ed48-4e74-a40f-4f7b034c1c27" providerId="ADAL" clId="{9E554EE2-F074-428C-8653-2CEE000EC49B}" dt="2021-01-12T08:30:48.964" v="551" actId="20577"/>
        <pc:sldMkLst>
          <pc:docMk/>
          <pc:sldMk cId="202659337" sldId="320"/>
        </pc:sldMkLst>
        <pc:spChg chg="mod">
          <ac:chgData name="Meyer Raphael (PAR-ES)" userId="79615dfe-ed48-4e74-a40f-4f7b034c1c27" providerId="ADAL" clId="{9E554EE2-F074-428C-8653-2CEE000EC49B}" dt="2021-01-12T08:30:48.964" v="551" actId="20577"/>
          <ac:spMkLst>
            <pc:docMk/>
            <pc:sldMk cId="202659337" sldId="320"/>
            <ac:spMk id="2" creationId="{A2DC317F-F1F4-4624-8FC1-3B68C1DBB3DA}"/>
          </ac:spMkLst>
        </pc:spChg>
        <pc:spChg chg="mod">
          <ac:chgData name="Meyer Raphael (PAR-ES)" userId="79615dfe-ed48-4e74-a40f-4f7b034c1c27" providerId="ADAL" clId="{9E554EE2-F074-428C-8653-2CEE000EC49B}" dt="2021-01-07T10:31:32.601" v="480" actId="1076"/>
          <ac:spMkLst>
            <pc:docMk/>
            <pc:sldMk cId="202659337" sldId="320"/>
            <ac:spMk id="6" creationId="{0EEE4EA3-E16E-424B-97F9-53A8F5D585AE}"/>
          </ac:spMkLst>
        </pc:spChg>
        <pc:spChg chg="mod">
          <ac:chgData name="Meyer Raphael (PAR-ES)" userId="79615dfe-ed48-4e74-a40f-4f7b034c1c27" providerId="ADAL" clId="{9E554EE2-F074-428C-8653-2CEE000EC49B}" dt="2021-01-07T10:26:44.985" v="455" actId="20577"/>
          <ac:spMkLst>
            <pc:docMk/>
            <pc:sldMk cId="202659337" sldId="320"/>
            <ac:spMk id="7" creationId="{51421822-C303-4FC2-BF5E-F4377E568635}"/>
          </ac:spMkLst>
        </pc:spChg>
        <pc:spChg chg="mod">
          <ac:chgData name="Meyer Raphael (PAR-ES)" userId="79615dfe-ed48-4e74-a40f-4f7b034c1c27" providerId="ADAL" clId="{9E554EE2-F074-428C-8653-2CEE000EC49B}" dt="2021-01-07T10:26:22.838" v="437"/>
          <ac:spMkLst>
            <pc:docMk/>
            <pc:sldMk cId="202659337" sldId="320"/>
            <ac:spMk id="10" creationId="{077DFD58-E5EE-4B68-9325-D935DB04DD40}"/>
          </ac:spMkLst>
        </pc:spChg>
        <pc:spChg chg="mod">
          <ac:chgData name="Meyer Raphael (PAR-ES)" userId="79615dfe-ed48-4e74-a40f-4f7b034c1c27" providerId="ADAL" clId="{9E554EE2-F074-428C-8653-2CEE000EC49B}" dt="2021-01-07T10:28:57.132" v="465" actId="20577"/>
          <ac:spMkLst>
            <pc:docMk/>
            <pc:sldMk cId="202659337" sldId="320"/>
            <ac:spMk id="15" creationId="{CC1F0CCA-7B55-41F9-A1FF-769ED7C753BD}"/>
          </ac:spMkLst>
        </pc:spChg>
        <pc:graphicFrameChg chg="mod">
          <ac:chgData name="Meyer Raphael (PAR-ES)" userId="79615dfe-ed48-4e74-a40f-4f7b034c1c27" providerId="ADAL" clId="{9E554EE2-F074-428C-8653-2CEE000EC49B}" dt="2021-01-07T10:31:26.811" v="479"/>
          <ac:graphicFrameMkLst>
            <pc:docMk/>
            <pc:sldMk cId="202659337" sldId="320"/>
            <ac:graphicFrameMk id="5" creationId="{4CF6AB8B-CAB9-4C7E-8E59-E00357A4D7F0}"/>
          </ac:graphicFrameMkLst>
        </pc:graphicFrameChg>
      </pc:sldChg>
      <pc:sldChg chg="addSp delSp modSp add ord">
        <pc:chgData name="Meyer Raphael (PAR-ES)" userId="79615dfe-ed48-4e74-a40f-4f7b034c1c27" providerId="ADAL" clId="{9E554EE2-F074-428C-8653-2CEE000EC49B}" dt="2021-01-21T09:56:37.710" v="868" actId="552"/>
        <pc:sldMkLst>
          <pc:docMk/>
          <pc:sldMk cId="1323358563" sldId="321"/>
        </pc:sldMkLst>
        <pc:spChg chg="mod">
          <ac:chgData name="Meyer Raphael (PAR-ES)" userId="79615dfe-ed48-4e74-a40f-4f7b034c1c27" providerId="ADAL" clId="{9E554EE2-F074-428C-8653-2CEE000EC49B}" dt="2021-01-21T09:53:31.860" v="786"/>
          <ac:spMkLst>
            <pc:docMk/>
            <pc:sldMk cId="1323358563" sldId="321"/>
            <ac:spMk id="2" creationId="{A2DC317F-F1F4-4624-8FC1-3B68C1DBB3DA}"/>
          </ac:spMkLst>
        </pc:spChg>
        <pc:spChg chg="del">
          <ac:chgData name="Meyer Raphael (PAR-ES)" userId="79615dfe-ed48-4e74-a40f-4f7b034c1c27" providerId="ADAL" clId="{9E554EE2-F074-428C-8653-2CEE000EC49B}" dt="2021-01-21T09:52:59.490" v="780" actId="478"/>
          <ac:spMkLst>
            <pc:docMk/>
            <pc:sldMk cId="1323358563" sldId="321"/>
            <ac:spMk id="7" creationId="{BA3F9A72-0541-4D1F-8CD8-1C2B8074FA1B}"/>
          </ac:spMkLst>
        </pc:spChg>
        <pc:spChg chg="del mod">
          <ac:chgData name="Meyer Raphael (PAR-ES)" userId="79615dfe-ed48-4e74-a40f-4f7b034c1c27" providerId="ADAL" clId="{9E554EE2-F074-428C-8653-2CEE000EC49B}" dt="2021-01-21T09:53:04.407" v="782" actId="478"/>
          <ac:spMkLst>
            <pc:docMk/>
            <pc:sldMk cId="1323358563" sldId="321"/>
            <ac:spMk id="8" creationId="{5857C2A1-2CB8-4D4A-AEFD-E809BF73D04F}"/>
          </ac:spMkLst>
        </pc:spChg>
        <pc:spChg chg="del">
          <ac:chgData name="Meyer Raphael (PAR-ES)" userId="79615dfe-ed48-4e74-a40f-4f7b034c1c27" providerId="ADAL" clId="{9E554EE2-F074-428C-8653-2CEE000EC49B}" dt="2021-01-21T09:52:59.490" v="780" actId="478"/>
          <ac:spMkLst>
            <pc:docMk/>
            <pc:sldMk cId="1323358563" sldId="321"/>
            <ac:spMk id="9" creationId="{B6990B61-32B2-4ADC-BF01-EDF7B4080F97}"/>
          </ac:spMkLst>
        </pc:spChg>
        <pc:spChg chg="mod">
          <ac:chgData name="Meyer Raphael (PAR-ES)" userId="79615dfe-ed48-4e74-a40f-4f7b034c1c27" providerId="ADAL" clId="{9E554EE2-F074-428C-8653-2CEE000EC49B}" dt="2021-01-21T09:53:42.141" v="787"/>
          <ac:spMkLst>
            <pc:docMk/>
            <pc:sldMk cId="1323358563" sldId="321"/>
            <ac:spMk id="10" creationId="{077DFD58-E5EE-4B68-9325-D935DB04DD40}"/>
          </ac:spMkLst>
        </pc:spChg>
        <pc:spChg chg="del">
          <ac:chgData name="Meyer Raphael (PAR-ES)" userId="79615dfe-ed48-4e74-a40f-4f7b034c1c27" providerId="ADAL" clId="{9E554EE2-F074-428C-8653-2CEE000EC49B}" dt="2021-01-21T09:52:59.490" v="780" actId="478"/>
          <ac:spMkLst>
            <pc:docMk/>
            <pc:sldMk cId="1323358563" sldId="321"/>
            <ac:spMk id="17" creationId="{785E740C-F94A-4208-8DFD-63A603C16577}"/>
          </ac:spMkLst>
        </pc:spChg>
        <pc:spChg chg="del">
          <ac:chgData name="Meyer Raphael (PAR-ES)" userId="79615dfe-ed48-4e74-a40f-4f7b034c1c27" providerId="ADAL" clId="{9E554EE2-F074-428C-8653-2CEE000EC49B}" dt="2021-01-21T09:52:59.490" v="780" actId="478"/>
          <ac:spMkLst>
            <pc:docMk/>
            <pc:sldMk cId="1323358563" sldId="321"/>
            <ac:spMk id="26" creationId="{BFD498B5-D73E-4C8A-9FAF-B3547647538C}"/>
          </ac:spMkLst>
        </pc:spChg>
        <pc:spChg chg="mod">
          <ac:chgData name="Meyer Raphael (PAR-ES)" userId="79615dfe-ed48-4e74-a40f-4f7b034c1c27" providerId="ADAL" clId="{9E554EE2-F074-428C-8653-2CEE000EC49B}" dt="2021-01-21T09:54:09.324" v="793" actId="14100"/>
          <ac:spMkLst>
            <pc:docMk/>
            <pc:sldMk cId="1323358563" sldId="321"/>
            <ac:spMk id="27" creationId="{46A6B042-39EE-4A58-BBAA-13D52264B660}"/>
          </ac:spMkLst>
        </pc:spChg>
        <pc:spChg chg="del mod">
          <ac:chgData name="Meyer Raphael (PAR-ES)" userId="79615dfe-ed48-4e74-a40f-4f7b034c1c27" providerId="ADAL" clId="{9E554EE2-F074-428C-8653-2CEE000EC49B}" dt="2021-01-21T09:56:32.460" v="867" actId="478"/>
          <ac:spMkLst>
            <pc:docMk/>
            <pc:sldMk cId="1323358563" sldId="321"/>
            <ac:spMk id="33" creationId="{1263211D-7647-4ACE-B729-2338DF0FFB67}"/>
          </ac:spMkLst>
        </pc:spChg>
        <pc:spChg chg="add mod">
          <ac:chgData name="Meyer Raphael (PAR-ES)" userId="79615dfe-ed48-4e74-a40f-4f7b034c1c27" providerId="ADAL" clId="{9E554EE2-F074-428C-8653-2CEE000EC49B}" dt="2021-01-21T09:53:52.034" v="790" actId="20577"/>
          <ac:spMkLst>
            <pc:docMk/>
            <pc:sldMk cId="1323358563" sldId="321"/>
            <ac:spMk id="36" creationId="{D4DC81BC-ED45-48EA-A1B6-5307733395E7}"/>
          </ac:spMkLst>
        </pc:spChg>
        <pc:spChg chg="del">
          <ac:chgData name="Meyer Raphael (PAR-ES)" userId="79615dfe-ed48-4e74-a40f-4f7b034c1c27" providerId="ADAL" clId="{9E554EE2-F074-428C-8653-2CEE000EC49B}" dt="2021-01-21T09:55:28.730" v="800" actId="478"/>
          <ac:spMkLst>
            <pc:docMk/>
            <pc:sldMk cId="1323358563" sldId="321"/>
            <ac:spMk id="37" creationId="{16628D91-C37D-41C8-A84A-DDEB3E2C1246}"/>
          </ac:spMkLst>
        </pc:spChg>
        <pc:spChg chg="add">
          <ac:chgData name="Meyer Raphael (PAR-ES)" userId="79615dfe-ed48-4e74-a40f-4f7b034c1c27" providerId="ADAL" clId="{9E554EE2-F074-428C-8653-2CEE000EC49B}" dt="2021-01-21T09:53:18.266" v="785"/>
          <ac:spMkLst>
            <pc:docMk/>
            <pc:sldMk cId="1323358563" sldId="321"/>
            <ac:spMk id="38" creationId="{185C337F-F04B-4458-8929-AFEFB8A30B93}"/>
          </ac:spMkLst>
        </pc:spChg>
        <pc:spChg chg="add">
          <ac:chgData name="Meyer Raphael (PAR-ES)" userId="79615dfe-ed48-4e74-a40f-4f7b034c1c27" providerId="ADAL" clId="{9E554EE2-F074-428C-8653-2CEE000EC49B}" dt="2021-01-21T09:53:18.266" v="785"/>
          <ac:spMkLst>
            <pc:docMk/>
            <pc:sldMk cId="1323358563" sldId="321"/>
            <ac:spMk id="39" creationId="{3C3BAB7D-B76A-431B-A3CF-E8E9874AEDDB}"/>
          </ac:spMkLst>
        </pc:spChg>
        <pc:spChg chg="add">
          <ac:chgData name="Meyer Raphael (PAR-ES)" userId="79615dfe-ed48-4e74-a40f-4f7b034c1c27" providerId="ADAL" clId="{9E554EE2-F074-428C-8653-2CEE000EC49B}" dt="2021-01-21T09:53:18.266" v="785"/>
          <ac:spMkLst>
            <pc:docMk/>
            <pc:sldMk cId="1323358563" sldId="321"/>
            <ac:spMk id="40" creationId="{2405526E-D266-4909-9826-2E610648D89E}"/>
          </ac:spMkLst>
        </pc:spChg>
        <pc:spChg chg="add">
          <ac:chgData name="Meyer Raphael (PAR-ES)" userId="79615dfe-ed48-4e74-a40f-4f7b034c1c27" providerId="ADAL" clId="{9E554EE2-F074-428C-8653-2CEE000EC49B}" dt="2021-01-21T09:53:18.266" v="785"/>
          <ac:spMkLst>
            <pc:docMk/>
            <pc:sldMk cId="1323358563" sldId="321"/>
            <ac:spMk id="41" creationId="{57EC8687-199B-4B69-8E09-2647FB2A97CC}"/>
          </ac:spMkLst>
        </pc:spChg>
        <pc:spChg chg="add del">
          <ac:chgData name="Meyer Raphael (PAR-ES)" userId="79615dfe-ed48-4e74-a40f-4f7b034c1c27" providerId="ADAL" clId="{9E554EE2-F074-428C-8653-2CEE000EC49B}" dt="2021-01-21T09:55:24.111" v="799"/>
          <ac:spMkLst>
            <pc:docMk/>
            <pc:sldMk cId="1323358563" sldId="321"/>
            <ac:spMk id="42" creationId="{472566B9-E38B-4D71-AE34-470B18EB997C}"/>
          </ac:spMkLst>
        </pc:spChg>
        <pc:spChg chg="add mod">
          <ac:chgData name="Meyer Raphael (PAR-ES)" userId="79615dfe-ed48-4e74-a40f-4f7b034c1c27" providerId="ADAL" clId="{9E554EE2-F074-428C-8653-2CEE000EC49B}" dt="2021-01-21T09:56:37.710" v="868" actId="552"/>
          <ac:spMkLst>
            <pc:docMk/>
            <pc:sldMk cId="1323358563" sldId="321"/>
            <ac:spMk id="43" creationId="{FF6F8D55-77CB-45DC-9997-9ECD8E1AAF90}"/>
          </ac:spMkLst>
        </pc:spChg>
        <pc:spChg chg="add mod">
          <ac:chgData name="Meyer Raphael (PAR-ES)" userId="79615dfe-ed48-4e74-a40f-4f7b034c1c27" providerId="ADAL" clId="{9E554EE2-F074-428C-8653-2CEE000EC49B}" dt="2021-01-21T09:56:37.710" v="868" actId="552"/>
          <ac:spMkLst>
            <pc:docMk/>
            <pc:sldMk cId="1323358563" sldId="321"/>
            <ac:spMk id="44" creationId="{6576F584-D2E4-4879-9894-BD2255E8118E}"/>
          </ac:spMkLst>
        </pc:spChg>
        <pc:cxnChg chg="mod">
          <ac:chgData name="Meyer Raphael (PAR-ES)" userId="79615dfe-ed48-4e74-a40f-4f7b034c1c27" providerId="ADAL" clId="{9E554EE2-F074-428C-8653-2CEE000EC49B}" dt="2021-01-21T09:54:30.514" v="796" actId="1038"/>
          <ac:cxnSpMkLst>
            <pc:docMk/>
            <pc:sldMk cId="1323358563" sldId="321"/>
            <ac:cxnSpMk id="29" creationId="{FD3E902F-283F-48FC-9504-FF2FF4EA4BF0}"/>
          </ac:cxnSpMkLst>
        </pc:cxnChg>
        <pc:cxnChg chg="mod">
          <ac:chgData name="Meyer Raphael (PAR-ES)" userId="79615dfe-ed48-4e74-a40f-4f7b034c1c27" providerId="ADAL" clId="{9E554EE2-F074-428C-8653-2CEE000EC49B}" dt="2021-01-21T09:54:41.325" v="797" actId="14100"/>
          <ac:cxnSpMkLst>
            <pc:docMk/>
            <pc:sldMk cId="1323358563" sldId="321"/>
            <ac:cxnSpMk id="30" creationId="{1D702FCA-793F-404B-84D5-F14C318BFFB3}"/>
          </ac:cxnSpMkLst>
        </pc:cxnChg>
      </pc:sldChg>
      <pc:sldChg chg="addSp delSp modSp add ord">
        <pc:chgData name="Meyer Raphael (PAR-ES)" userId="79615dfe-ed48-4e74-a40f-4f7b034c1c27" providerId="ADAL" clId="{9E554EE2-F074-428C-8653-2CEE000EC49B}" dt="2021-01-21T09:52:42.167" v="779" actId="1038"/>
        <pc:sldMkLst>
          <pc:docMk/>
          <pc:sldMk cId="3034369345" sldId="322"/>
        </pc:sldMkLst>
        <pc:spChg chg="mod">
          <ac:chgData name="Meyer Raphael (PAR-ES)" userId="79615dfe-ed48-4e74-a40f-4f7b034c1c27" providerId="ADAL" clId="{9E554EE2-F074-428C-8653-2CEE000EC49B}" dt="2021-01-21T09:50:21.949" v="762"/>
          <ac:spMkLst>
            <pc:docMk/>
            <pc:sldMk cId="3034369345" sldId="322"/>
            <ac:spMk id="2" creationId="{A2DC317F-F1F4-4624-8FC1-3B68C1DBB3DA}"/>
          </ac:spMkLst>
        </pc:spChg>
        <pc:spChg chg="add del mod">
          <ac:chgData name="Meyer Raphael (PAR-ES)" userId="79615dfe-ed48-4e74-a40f-4f7b034c1c27" providerId="ADAL" clId="{9E554EE2-F074-428C-8653-2CEE000EC49B}" dt="2021-01-21T09:49:50.316" v="757" actId="478"/>
          <ac:spMkLst>
            <pc:docMk/>
            <pc:sldMk cId="3034369345" sldId="322"/>
            <ac:spMk id="7" creationId="{BA3F9A72-0541-4D1F-8CD8-1C2B8074FA1B}"/>
          </ac:spMkLst>
        </pc:spChg>
        <pc:spChg chg="add del">
          <ac:chgData name="Meyer Raphael (PAR-ES)" userId="79615dfe-ed48-4e74-a40f-4f7b034c1c27" providerId="ADAL" clId="{9E554EE2-F074-428C-8653-2CEE000EC49B}" dt="2021-01-21T09:49:50.316" v="757" actId="478"/>
          <ac:spMkLst>
            <pc:docMk/>
            <pc:sldMk cId="3034369345" sldId="322"/>
            <ac:spMk id="8" creationId="{5857C2A1-2CB8-4D4A-AEFD-E809BF73D04F}"/>
          </ac:spMkLst>
        </pc:spChg>
        <pc:spChg chg="add del mod">
          <ac:chgData name="Meyer Raphael (PAR-ES)" userId="79615dfe-ed48-4e74-a40f-4f7b034c1c27" providerId="ADAL" clId="{9E554EE2-F074-428C-8653-2CEE000EC49B}" dt="2021-01-21T09:49:50.316" v="757" actId="478"/>
          <ac:spMkLst>
            <pc:docMk/>
            <pc:sldMk cId="3034369345" sldId="322"/>
            <ac:spMk id="9" creationId="{B6990B61-32B2-4ADC-BF01-EDF7B4080F97}"/>
          </ac:spMkLst>
        </pc:spChg>
        <pc:spChg chg="mod">
          <ac:chgData name="Meyer Raphael (PAR-ES)" userId="79615dfe-ed48-4e74-a40f-4f7b034c1c27" providerId="ADAL" clId="{9E554EE2-F074-428C-8653-2CEE000EC49B}" dt="2021-01-21T09:50:32.581" v="763"/>
          <ac:spMkLst>
            <pc:docMk/>
            <pc:sldMk cId="3034369345" sldId="322"/>
            <ac:spMk id="10" creationId="{077DFD58-E5EE-4B68-9325-D935DB04DD40}"/>
          </ac:spMkLst>
        </pc:spChg>
        <pc:spChg chg="add del">
          <ac:chgData name="Meyer Raphael (PAR-ES)" userId="79615dfe-ed48-4e74-a40f-4f7b034c1c27" providerId="ADAL" clId="{9E554EE2-F074-428C-8653-2CEE000EC49B}" dt="2021-01-21T09:49:50.316" v="757" actId="478"/>
          <ac:spMkLst>
            <pc:docMk/>
            <pc:sldMk cId="3034369345" sldId="322"/>
            <ac:spMk id="17" creationId="{785E740C-F94A-4208-8DFD-63A603C16577}"/>
          </ac:spMkLst>
        </pc:spChg>
        <pc:spChg chg="add del">
          <ac:chgData name="Meyer Raphael (PAR-ES)" userId="79615dfe-ed48-4e74-a40f-4f7b034c1c27" providerId="ADAL" clId="{9E554EE2-F074-428C-8653-2CEE000EC49B}" dt="2021-01-21T09:49:50.316" v="757" actId="478"/>
          <ac:spMkLst>
            <pc:docMk/>
            <pc:sldMk cId="3034369345" sldId="322"/>
            <ac:spMk id="26" creationId="{BFD498B5-D73E-4C8A-9FAF-B3547647538C}"/>
          </ac:spMkLst>
        </pc:spChg>
        <pc:spChg chg="mod">
          <ac:chgData name="Meyer Raphael (PAR-ES)" userId="79615dfe-ed48-4e74-a40f-4f7b034c1c27" providerId="ADAL" clId="{9E554EE2-F074-428C-8653-2CEE000EC49B}" dt="2021-01-21T09:50:45.694" v="764"/>
          <ac:spMkLst>
            <pc:docMk/>
            <pc:sldMk cId="3034369345" sldId="322"/>
            <ac:spMk id="27" creationId="{46A6B042-39EE-4A58-BBAA-13D52264B660}"/>
          </ac:spMkLst>
        </pc:spChg>
        <pc:spChg chg="add del">
          <ac:chgData name="Meyer Raphael (PAR-ES)" userId="79615dfe-ed48-4e74-a40f-4f7b034c1c27" providerId="ADAL" clId="{9E554EE2-F074-428C-8653-2CEE000EC49B}" dt="2021-01-21T09:49:40.537" v="756" actId="478"/>
          <ac:spMkLst>
            <pc:docMk/>
            <pc:sldMk cId="3034369345" sldId="322"/>
            <ac:spMk id="31" creationId="{7491A47D-CAD4-478D-8F3A-296FFCB799F9}"/>
          </ac:spMkLst>
        </pc:spChg>
        <pc:spChg chg="add mod">
          <ac:chgData name="Meyer Raphael (PAR-ES)" userId="79615dfe-ed48-4e74-a40f-4f7b034c1c27" providerId="ADAL" clId="{9E554EE2-F074-428C-8653-2CEE000EC49B}" dt="2021-01-21T09:50:05.762" v="761" actId="20577"/>
          <ac:spMkLst>
            <pc:docMk/>
            <pc:sldMk cId="3034369345" sldId="322"/>
            <ac:spMk id="36" creationId="{E46C73A3-955A-4138-8A70-BDE6BF3C18CC}"/>
          </ac:spMkLst>
        </pc:spChg>
        <pc:spChg chg="add">
          <ac:chgData name="Meyer Raphael (PAR-ES)" userId="79615dfe-ed48-4e74-a40f-4f7b034c1c27" providerId="ADAL" clId="{9E554EE2-F074-428C-8653-2CEE000EC49B}" dt="2021-01-21T09:50:00.355" v="758"/>
          <ac:spMkLst>
            <pc:docMk/>
            <pc:sldMk cId="3034369345" sldId="322"/>
            <ac:spMk id="38" creationId="{E55F7D7A-8159-4331-B71E-6B6375E52D91}"/>
          </ac:spMkLst>
        </pc:spChg>
        <pc:spChg chg="add">
          <ac:chgData name="Meyer Raphael (PAR-ES)" userId="79615dfe-ed48-4e74-a40f-4f7b034c1c27" providerId="ADAL" clId="{9E554EE2-F074-428C-8653-2CEE000EC49B}" dt="2021-01-21T09:50:00.355" v="758"/>
          <ac:spMkLst>
            <pc:docMk/>
            <pc:sldMk cId="3034369345" sldId="322"/>
            <ac:spMk id="39" creationId="{4FB5514E-D8E9-4552-B7D9-D51242C3B12F}"/>
          </ac:spMkLst>
        </pc:spChg>
        <pc:spChg chg="add">
          <ac:chgData name="Meyer Raphael (PAR-ES)" userId="79615dfe-ed48-4e74-a40f-4f7b034c1c27" providerId="ADAL" clId="{9E554EE2-F074-428C-8653-2CEE000EC49B}" dt="2021-01-21T09:50:00.355" v="758"/>
          <ac:spMkLst>
            <pc:docMk/>
            <pc:sldMk cId="3034369345" sldId="322"/>
            <ac:spMk id="40" creationId="{69705190-6429-40E9-B39E-3D3F1D861106}"/>
          </ac:spMkLst>
        </pc:spChg>
        <pc:spChg chg="add">
          <ac:chgData name="Meyer Raphael (PAR-ES)" userId="79615dfe-ed48-4e74-a40f-4f7b034c1c27" providerId="ADAL" clId="{9E554EE2-F074-428C-8653-2CEE000EC49B}" dt="2021-01-21T09:50:00.355" v="758"/>
          <ac:spMkLst>
            <pc:docMk/>
            <pc:sldMk cId="3034369345" sldId="322"/>
            <ac:spMk id="41" creationId="{5FD2409B-796E-4579-8AE2-D135B91D280A}"/>
          </ac:spMkLst>
        </pc:spChg>
        <pc:cxnChg chg="mod">
          <ac:chgData name="Meyer Raphael (PAR-ES)" userId="79615dfe-ed48-4e74-a40f-4f7b034c1c27" providerId="ADAL" clId="{9E554EE2-F074-428C-8653-2CEE000EC49B}" dt="2021-01-21T09:52:42.167" v="779" actId="1038"/>
          <ac:cxnSpMkLst>
            <pc:docMk/>
            <pc:sldMk cId="3034369345" sldId="322"/>
            <ac:cxnSpMk id="29" creationId="{FD3E902F-283F-48FC-9504-FF2FF4EA4BF0}"/>
          </ac:cxnSpMkLst>
        </pc:cxnChg>
        <pc:cxnChg chg="mod">
          <ac:chgData name="Meyer Raphael (PAR-ES)" userId="79615dfe-ed48-4e74-a40f-4f7b034c1c27" providerId="ADAL" clId="{9E554EE2-F074-428C-8653-2CEE000EC49B}" dt="2021-01-21T09:52:27.017" v="777" actId="14100"/>
          <ac:cxnSpMkLst>
            <pc:docMk/>
            <pc:sldMk cId="3034369345" sldId="322"/>
            <ac:cxnSpMk id="30" creationId="{1D702FCA-793F-404B-84D5-F14C318BFFB3}"/>
          </ac:cxnSpMkLst>
        </pc:cxnChg>
      </pc:sldChg>
    </pc:docChg>
  </pc:docChgLst>
  <pc:docChgLst>
    <pc:chgData name="Meyer Raphael (PAR-ES)" userId="79615dfe-ed48-4e74-a40f-4f7b034c1c27" providerId="ADAL" clId="{0F6412C6-CA40-442D-8083-EB596FC2A673}"/>
    <pc:docChg chg="custSel addSld modSld sldOrd">
      <pc:chgData name="Meyer Raphael (PAR-ES)" userId="79615dfe-ed48-4e74-a40f-4f7b034c1c27" providerId="ADAL" clId="{0F6412C6-CA40-442D-8083-EB596FC2A673}" dt="2021-11-02T14:47:56.470" v="75"/>
      <pc:docMkLst>
        <pc:docMk/>
      </pc:docMkLst>
      <pc:sldChg chg="modSp mod">
        <pc:chgData name="Meyer Raphael (PAR-ES)" userId="79615dfe-ed48-4e74-a40f-4f7b034c1c27" providerId="ADAL" clId="{0F6412C6-CA40-442D-8083-EB596FC2A673}" dt="2021-11-02T14:42:11.138" v="57" actId="6549"/>
        <pc:sldMkLst>
          <pc:docMk/>
          <pc:sldMk cId="3808035539" sldId="270"/>
        </pc:sldMkLst>
        <pc:spChg chg="mod">
          <ac:chgData name="Meyer Raphael (PAR-ES)" userId="79615dfe-ed48-4e74-a40f-4f7b034c1c27" providerId="ADAL" clId="{0F6412C6-CA40-442D-8083-EB596FC2A673}" dt="2021-11-02T14:42:11.138" v="57" actId="6549"/>
          <ac:spMkLst>
            <pc:docMk/>
            <pc:sldMk cId="3808035539" sldId="270"/>
            <ac:spMk id="3" creationId="{00000000-0000-0000-0000-000000000000}"/>
          </ac:spMkLst>
        </pc:spChg>
      </pc:sldChg>
      <pc:sldChg chg="modSp add mod ord">
        <pc:chgData name="Meyer Raphael (PAR-ES)" userId="79615dfe-ed48-4e74-a40f-4f7b034c1c27" providerId="ADAL" clId="{0F6412C6-CA40-442D-8083-EB596FC2A673}" dt="2021-11-02T14:42:03.501" v="56" actId="20577"/>
        <pc:sldMkLst>
          <pc:docMk/>
          <pc:sldMk cId="3677740869" sldId="271"/>
        </pc:sldMkLst>
        <pc:spChg chg="mod">
          <ac:chgData name="Meyer Raphael (PAR-ES)" userId="79615dfe-ed48-4e74-a40f-4f7b034c1c27" providerId="ADAL" clId="{0F6412C6-CA40-442D-8083-EB596FC2A673}" dt="2021-11-02T14:35:48.076" v="15"/>
          <ac:spMkLst>
            <pc:docMk/>
            <pc:sldMk cId="3677740869" sldId="271"/>
            <ac:spMk id="2" creationId="{00000000-0000-0000-0000-000000000000}"/>
          </ac:spMkLst>
        </pc:spChg>
        <pc:spChg chg="mod">
          <ac:chgData name="Meyer Raphael (PAR-ES)" userId="79615dfe-ed48-4e74-a40f-4f7b034c1c27" providerId="ADAL" clId="{0F6412C6-CA40-442D-8083-EB596FC2A673}" dt="2021-11-02T14:42:03.501" v="56" actId="20577"/>
          <ac:spMkLst>
            <pc:docMk/>
            <pc:sldMk cId="3677740869" sldId="271"/>
            <ac:spMk id="3" creationId="{00000000-0000-0000-0000-000000000000}"/>
          </ac:spMkLst>
        </pc:spChg>
        <pc:spChg chg="mod">
          <ac:chgData name="Meyer Raphael (PAR-ES)" userId="79615dfe-ed48-4e74-a40f-4f7b034c1c27" providerId="ADAL" clId="{0F6412C6-CA40-442D-8083-EB596FC2A673}" dt="2021-11-02T14:36:44.642" v="18" actId="20577"/>
          <ac:spMkLst>
            <pc:docMk/>
            <pc:sldMk cId="3677740869" sldId="271"/>
            <ac:spMk id="5" creationId="{00000000-0000-0000-0000-000000000000}"/>
          </ac:spMkLst>
        </pc:spChg>
      </pc:sldChg>
      <pc:sldChg chg="modSp add mod">
        <pc:chgData name="Meyer Raphael (PAR-ES)" userId="79615dfe-ed48-4e74-a40f-4f7b034c1c27" providerId="ADAL" clId="{0F6412C6-CA40-442D-8083-EB596FC2A673}" dt="2021-11-02T14:44:11.596" v="60"/>
        <pc:sldMkLst>
          <pc:docMk/>
          <pc:sldMk cId="1963209825" sldId="272"/>
        </pc:sldMkLst>
        <pc:spChg chg="mod">
          <ac:chgData name="Meyer Raphael (PAR-ES)" userId="79615dfe-ed48-4e74-a40f-4f7b034c1c27" providerId="ADAL" clId="{0F6412C6-CA40-442D-8083-EB596FC2A673}" dt="2021-11-02T14:44:11.596" v="60"/>
          <ac:spMkLst>
            <pc:docMk/>
            <pc:sldMk cId="1963209825" sldId="272"/>
            <ac:spMk id="2" creationId="{00000000-0000-0000-0000-000000000000}"/>
          </ac:spMkLst>
        </pc:spChg>
        <pc:spChg chg="mod">
          <ac:chgData name="Meyer Raphael (PAR-ES)" userId="79615dfe-ed48-4e74-a40f-4f7b034c1c27" providerId="ADAL" clId="{0F6412C6-CA40-442D-8083-EB596FC2A673}" dt="2021-11-02T14:41:37.188" v="43" actId="6549"/>
          <ac:spMkLst>
            <pc:docMk/>
            <pc:sldMk cId="1963209825" sldId="272"/>
            <ac:spMk id="3" creationId="{00000000-0000-0000-0000-000000000000}"/>
          </ac:spMkLst>
        </pc:spChg>
        <pc:spChg chg="mod">
          <ac:chgData name="Meyer Raphael (PAR-ES)" userId="79615dfe-ed48-4e74-a40f-4f7b034c1c27" providerId="ADAL" clId="{0F6412C6-CA40-442D-8083-EB596FC2A673}" dt="2021-11-02T14:40:48.901" v="24" actId="20577"/>
          <ac:spMkLst>
            <pc:docMk/>
            <pc:sldMk cId="1963209825" sldId="272"/>
            <ac:spMk id="5" creationId="{00000000-0000-0000-0000-000000000000}"/>
          </ac:spMkLst>
        </pc:spChg>
      </pc:sldChg>
      <pc:sldChg chg="modSp add mod">
        <pc:chgData name="Meyer Raphael (PAR-ES)" userId="79615dfe-ed48-4e74-a40f-4f7b034c1c27" providerId="ADAL" clId="{0F6412C6-CA40-442D-8083-EB596FC2A673}" dt="2021-11-02T14:47:56.470" v="75"/>
        <pc:sldMkLst>
          <pc:docMk/>
          <pc:sldMk cId="1065586608" sldId="273"/>
        </pc:sldMkLst>
        <pc:spChg chg="mod">
          <ac:chgData name="Meyer Raphael (PAR-ES)" userId="79615dfe-ed48-4e74-a40f-4f7b034c1c27" providerId="ADAL" clId="{0F6412C6-CA40-442D-8083-EB596FC2A673}" dt="2021-11-02T14:47:56.470" v="75"/>
          <ac:spMkLst>
            <pc:docMk/>
            <pc:sldMk cId="1065586608" sldId="273"/>
            <ac:spMk id="2" creationId="{00000000-0000-0000-0000-000000000000}"/>
          </ac:spMkLst>
        </pc:spChg>
        <pc:spChg chg="mod">
          <ac:chgData name="Meyer Raphael (PAR-ES)" userId="79615dfe-ed48-4e74-a40f-4f7b034c1c27" providerId="ADAL" clId="{0F6412C6-CA40-442D-8083-EB596FC2A673}" dt="2021-11-02T14:46:19.183" v="70" actId="6549"/>
          <ac:spMkLst>
            <pc:docMk/>
            <pc:sldMk cId="1065586608" sldId="273"/>
            <ac:spMk id="3" creationId="{00000000-0000-0000-0000-000000000000}"/>
          </ac:spMkLst>
        </pc:spChg>
        <pc:spChg chg="mod">
          <ac:chgData name="Meyer Raphael (PAR-ES)" userId="79615dfe-ed48-4e74-a40f-4f7b034c1c27" providerId="ADAL" clId="{0F6412C6-CA40-442D-8083-EB596FC2A673}" dt="2021-11-02T14:46:33.270" v="73" actId="20577"/>
          <ac:spMkLst>
            <pc:docMk/>
            <pc:sldMk cId="1065586608" sldId="273"/>
            <ac:spMk id="5" creationId="{00000000-0000-0000-0000-000000000000}"/>
          </ac:spMkLst>
        </pc:spChg>
      </pc:sldChg>
    </pc:docChg>
  </pc:docChgLst>
  <pc:docChgLst>
    <pc:chgData name="Meyer Raphael (PAR-ES)" userId="79615dfe-ed48-4e74-a40f-4f7b034c1c27" providerId="ADAL" clId="{BD78FBA8-28CB-4801-9164-9A1036786C5F}"/>
    <pc:docChg chg="addSld modSld sldOrd">
      <pc:chgData name="Meyer Raphael (PAR-ES)" userId="79615dfe-ed48-4e74-a40f-4f7b034c1c27" providerId="ADAL" clId="{BD78FBA8-28CB-4801-9164-9A1036786C5F}" dt="2021-06-14T07:38:53.770" v="47"/>
      <pc:docMkLst>
        <pc:docMk/>
      </pc:docMkLst>
      <pc:sldChg chg="modSp mod">
        <pc:chgData name="Meyer Raphael (PAR-ES)" userId="79615dfe-ed48-4e74-a40f-4f7b034c1c27" providerId="ADAL" clId="{BD78FBA8-28CB-4801-9164-9A1036786C5F}" dt="2021-06-14T07:36:21.039" v="39" actId="1038"/>
        <pc:sldMkLst>
          <pc:docMk/>
          <pc:sldMk cId="1495152177" sldId="298"/>
        </pc:sldMkLst>
        <pc:spChg chg="mod">
          <ac:chgData name="Meyer Raphael (PAR-ES)" userId="79615dfe-ed48-4e74-a40f-4f7b034c1c27" providerId="ADAL" clId="{BD78FBA8-28CB-4801-9164-9A1036786C5F}" dt="2021-06-14T07:36:21.039" v="39" actId="1038"/>
          <ac:spMkLst>
            <pc:docMk/>
            <pc:sldMk cId="1495152177" sldId="298"/>
            <ac:spMk id="12" creationId="{970D2C07-63A2-4265-B006-56F685FE80A5}"/>
          </ac:spMkLst>
        </pc:spChg>
        <pc:spChg chg="mod">
          <ac:chgData name="Meyer Raphael (PAR-ES)" userId="79615dfe-ed48-4e74-a40f-4f7b034c1c27" providerId="ADAL" clId="{BD78FBA8-28CB-4801-9164-9A1036786C5F}" dt="2021-06-14T07:36:21.039" v="39" actId="1038"/>
          <ac:spMkLst>
            <pc:docMk/>
            <pc:sldMk cId="1495152177" sldId="298"/>
            <ac:spMk id="13" creationId="{93412675-62AA-41D8-997C-4E877ED953A8}"/>
          </ac:spMkLst>
        </pc:spChg>
        <pc:cxnChg chg="mod">
          <ac:chgData name="Meyer Raphael (PAR-ES)" userId="79615dfe-ed48-4e74-a40f-4f7b034c1c27" providerId="ADAL" clId="{BD78FBA8-28CB-4801-9164-9A1036786C5F}" dt="2021-06-14T07:36:21.039" v="39" actId="1038"/>
          <ac:cxnSpMkLst>
            <pc:docMk/>
            <pc:sldMk cId="1495152177" sldId="298"/>
            <ac:cxnSpMk id="8" creationId="{6F3EB9D3-E612-42D9-859B-1905BD876C26}"/>
          </ac:cxnSpMkLst>
        </pc:cxnChg>
      </pc:sldChg>
      <pc:sldChg chg="modSp add ord">
        <pc:chgData name="Meyer Raphael (PAR-ES)" userId="79615dfe-ed48-4e74-a40f-4f7b034c1c27" providerId="ADAL" clId="{BD78FBA8-28CB-4801-9164-9A1036786C5F}" dt="2021-06-14T07:38:53.770" v="47"/>
        <pc:sldMkLst>
          <pc:docMk/>
          <pc:sldMk cId="1559304935" sldId="363"/>
        </pc:sldMkLst>
        <pc:spChg chg="mod">
          <ac:chgData name="Meyer Raphael (PAR-ES)" userId="79615dfe-ed48-4e74-a40f-4f7b034c1c27" providerId="ADAL" clId="{BD78FBA8-28CB-4801-9164-9A1036786C5F}" dt="2021-06-14T07:38:44.702" v="46"/>
          <ac:spMkLst>
            <pc:docMk/>
            <pc:sldMk cId="1559304935" sldId="363"/>
            <ac:spMk id="2" creationId="{A2DC317F-F1F4-4624-8FC1-3B68C1DBB3DA}"/>
          </ac:spMkLst>
        </pc:spChg>
        <pc:spChg chg="mod">
          <ac:chgData name="Meyer Raphael (PAR-ES)" userId="79615dfe-ed48-4e74-a40f-4f7b034c1c27" providerId="ADAL" clId="{BD78FBA8-28CB-4801-9164-9A1036786C5F}" dt="2021-06-14T07:38:53.770" v="47"/>
          <ac:spMkLst>
            <pc:docMk/>
            <pc:sldMk cId="1559304935" sldId="363"/>
            <ac:spMk id="10" creationId="{077DFD58-E5EE-4B68-9325-D935DB04DD40}"/>
          </ac:spMkLst>
        </pc:spChg>
      </pc:sldChg>
      <pc:sldChg chg="add ord">
        <pc:chgData name="Meyer Raphael (PAR-ES)" userId="79615dfe-ed48-4e74-a40f-4f7b034c1c27" providerId="ADAL" clId="{BD78FBA8-28CB-4801-9164-9A1036786C5F}" dt="2021-06-14T07:38:30.720" v="43"/>
        <pc:sldMkLst>
          <pc:docMk/>
          <pc:sldMk cId="2043265091" sldId="364"/>
        </pc:sldMkLst>
      </pc:sldChg>
    </pc:docChg>
  </pc:docChgLst>
  <pc:docChgLst>
    <pc:chgData name="Meyer Raphael (PAR-ES)" userId="79615dfe-ed48-4e74-a40f-4f7b034c1c27" providerId="ADAL" clId="{8C626E85-E204-400C-BC2E-75E7D9270CDE}"/>
    <pc:docChg chg="modSld">
      <pc:chgData name="Meyer Raphael (PAR-ES)" userId="79615dfe-ed48-4e74-a40f-4f7b034c1c27" providerId="ADAL" clId="{8C626E85-E204-400C-BC2E-75E7D9270CDE}" dt="2023-02-24T14:04:21.502" v="3" actId="27918"/>
      <pc:docMkLst>
        <pc:docMk/>
      </pc:docMkLst>
      <pc:sldChg chg="mod">
        <pc:chgData name="Meyer Raphael (PAR-ES)" userId="79615dfe-ed48-4e74-a40f-4f7b034c1c27" providerId="ADAL" clId="{8C626E85-E204-400C-BC2E-75E7D9270CDE}" dt="2023-02-24T14:04:21.502" v="3" actId="27918"/>
        <pc:sldMkLst>
          <pc:docMk/>
          <pc:sldMk cId="976233813" sldId="417"/>
        </pc:sldMkLst>
      </pc:sldChg>
    </pc:docChg>
  </pc:docChgLst>
  <pc:docChgLst>
    <pc:chgData name="Meyer Raphael (PAR-ES)" userId="79615dfe-ed48-4e74-a40f-4f7b034c1c27" providerId="ADAL" clId="{3F817C4B-F866-4FC9-921E-DA547AE7CCD2}"/>
    <pc:docChg chg="modSld">
      <pc:chgData name="Meyer Raphael (PAR-ES)" userId="79615dfe-ed48-4e74-a40f-4f7b034c1c27" providerId="ADAL" clId="{3F817C4B-F866-4FC9-921E-DA547AE7CCD2}" dt="2021-11-04T13:41:11.916" v="44" actId="1038"/>
      <pc:docMkLst>
        <pc:docMk/>
      </pc:docMkLst>
      <pc:sldChg chg="modSp mod">
        <pc:chgData name="Meyer Raphael (PAR-ES)" userId="79615dfe-ed48-4e74-a40f-4f7b034c1c27" providerId="ADAL" clId="{3F817C4B-F866-4FC9-921E-DA547AE7CCD2}" dt="2021-11-04T13:40:48.028" v="10" actId="1038"/>
        <pc:sldMkLst>
          <pc:docMk/>
          <pc:sldMk cId="3808035539" sldId="270"/>
        </pc:sldMkLst>
        <pc:spChg chg="mod">
          <ac:chgData name="Meyer Raphael (PAR-ES)" userId="79615dfe-ed48-4e74-a40f-4f7b034c1c27" providerId="ADAL" clId="{3F817C4B-F866-4FC9-921E-DA547AE7CCD2}" dt="2021-11-04T13:40:48.028" v="10" actId="1038"/>
          <ac:spMkLst>
            <pc:docMk/>
            <pc:sldMk cId="3808035539" sldId="270"/>
            <ac:spMk id="10" creationId="{41B9B9AB-4B12-4760-AF37-4FABDDFAE68B}"/>
          </ac:spMkLst>
        </pc:spChg>
      </pc:sldChg>
      <pc:sldChg chg="modSp mod">
        <pc:chgData name="Meyer Raphael (PAR-ES)" userId="79615dfe-ed48-4e74-a40f-4f7b034c1c27" providerId="ADAL" clId="{3F817C4B-F866-4FC9-921E-DA547AE7CCD2}" dt="2021-11-04T13:40:56.482" v="21" actId="1038"/>
        <pc:sldMkLst>
          <pc:docMk/>
          <pc:sldMk cId="3677740869" sldId="271"/>
        </pc:sldMkLst>
        <pc:spChg chg="mod">
          <ac:chgData name="Meyer Raphael (PAR-ES)" userId="79615dfe-ed48-4e74-a40f-4f7b034c1c27" providerId="ADAL" clId="{3F817C4B-F866-4FC9-921E-DA547AE7CCD2}" dt="2021-11-04T13:40:56.482" v="21" actId="1038"/>
          <ac:spMkLst>
            <pc:docMk/>
            <pc:sldMk cId="3677740869" sldId="271"/>
            <ac:spMk id="6" creationId="{43DF758D-1D72-4940-A1AE-B914B7A641D5}"/>
          </ac:spMkLst>
        </pc:spChg>
      </pc:sldChg>
      <pc:sldChg chg="modSp mod">
        <pc:chgData name="Meyer Raphael (PAR-ES)" userId="79615dfe-ed48-4e74-a40f-4f7b034c1c27" providerId="ADAL" clId="{3F817C4B-F866-4FC9-921E-DA547AE7CCD2}" dt="2021-11-04T13:41:04.249" v="33" actId="1038"/>
        <pc:sldMkLst>
          <pc:docMk/>
          <pc:sldMk cId="1963209825" sldId="272"/>
        </pc:sldMkLst>
        <pc:spChg chg="mod">
          <ac:chgData name="Meyer Raphael (PAR-ES)" userId="79615dfe-ed48-4e74-a40f-4f7b034c1c27" providerId="ADAL" clId="{3F817C4B-F866-4FC9-921E-DA547AE7CCD2}" dt="2021-11-04T13:41:04.249" v="33" actId="1038"/>
          <ac:spMkLst>
            <pc:docMk/>
            <pc:sldMk cId="1963209825" sldId="272"/>
            <ac:spMk id="6" creationId="{CF6DBC6D-330A-4C20-9AEB-024C54AD5363}"/>
          </ac:spMkLst>
        </pc:spChg>
      </pc:sldChg>
      <pc:sldChg chg="modSp mod">
        <pc:chgData name="Meyer Raphael (PAR-ES)" userId="79615dfe-ed48-4e74-a40f-4f7b034c1c27" providerId="ADAL" clId="{3F817C4B-F866-4FC9-921E-DA547AE7CCD2}" dt="2021-11-04T13:41:11.916" v="44" actId="1038"/>
        <pc:sldMkLst>
          <pc:docMk/>
          <pc:sldMk cId="1065586608" sldId="273"/>
        </pc:sldMkLst>
        <pc:spChg chg="mod">
          <ac:chgData name="Meyer Raphael (PAR-ES)" userId="79615dfe-ed48-4e74-a40f-4f7b034c1c27" providerId="ADAL" clId="{3F817C4B-F866-4FC9-921E-DA547AE7CCD2}" dt="2021-11-04T13:41:11.916" v="44" actId="1038"/>
          <ac:spMkLst>
            <pc:docMk/>
            <pc:sldMk cId="1065586608" sldId="273"/>
            <ac:spMk id="6" creationId="{E0F162F0-F370-43B9-9CC4-2142C851FD99}"/>
          </ac:spMkLst>
        </pc:spChg>
      </pc:sldChg>
    </pc:docChg>
  </pc:docChgLst>
  <pc:docChgLst>
    <pc:chgData name="Meyer Raphael (PAR-ES)" userId="79615dfe-ed48-4e74-a40f-4f7b034c1c27" providerId="ADAL" clId="{5BDC4DE6-AEE0-4FC4-A6D7-CBAF56E9819B}"/>
    <pc:docChg chg="undo redo custSel addSld delSld modSld sldOrd modMainMaster">
      <pc:chgData name="Meyer Raphael (PAR-ES)" userId="79615dfe-ed48-4e74-a40f-4f7b034c1c27" providerId="ADAL" clId="{5BDC4DE6-AEE0-4FC4-A6D7-CBAF56E9819B}" dt="2021-10-20T08:26:05.944" v="339"/>
      <pc:docMkLst>
        <pc:docMk/>
      </pc:docMkLst>
      <pc:sldChg chg="modSp del mod">
        <pc:chgData name="Meyer Raphael (PAR-ES)" userId="79615dfe-ed48-4e74-a40f-4f7b034c1c27" providerId="ADAL" clId="{5BDC4DE6-AEE0-4FC4-A6D7-CBAF56E9819B}" dt="2021-10-19T12:51:52.524" v="244" actId="47"/>
        <pc:sldMkLst>
          <pc:docMk/>
          <pc:sldMk cId="1537997412" sldId="373"/>
        </pc:sldMkLst>
        <pc:spChg chg="mod">
          <ac:chgData name="Meyer Raphael (PAR-ES)" userId="79615dfe-ed48-4e74-a40f-4f7b034c1c27" providerId="ADAL" clId="{5BDC4DE6-AEE0-4FC4-A6D7-CBAF56E9819B}" dt="2021-10-19T12:29:43.220" v="3" actId="207"/>
          <ac:spMkLst>
            <pc:docMk/>
            <pc:sldMk cId="1537997412" sldId="373"/>
            <ac:spMk id="2" creationId="{5E8A4EFD-4DC4-43AA-95D5-75F07C9AB845}"/>
          </ac:spMkLst>
        </pc:spChg>
        <pc:spChg chg="mod">
          <ac:chgData name="Meyer Raphael (PAR-ES)" userId="79615dfe-ed48-4e74-a40f-4f7b034c1c27" providerId="ADAL" clId="{5BDC4DE6-AEE0-4FC4-A6D7-CBAF56E9819B}" dt="2021-10-19T12:40:05.858" v="51" actId="120"/>
          <ac:spMkLst>
            <pc:docMk/>
            <pc:sldMk cId="1537997412" sldId="373"/>
            <ac:spMk id="12" creationId="{4DA2B71E-2CC2-4C38-BAAB-A71345A07B83}"/>
          </ac:spMkLst>
        </pc:spChg>
        <pc:spChg chg="mod">
          <ac:chgData name="Meyer Raphael (PAR-ES)" userId="79615dfe-ed48-4e74-a40f-4f7b034c1c27" providerId="ADAL" clId="{5BDC4DE6-AEE0-4FC4-A6D7-CBAF56E9819B}" dt="2021-10-19T12:50:48.441" v="240" actId="208"/>
          <ac:spMkLst>
            <pc:docMk/>
            <pc:sldMk cId="1537997412" sldId="373"/>
            <ac:spMk id="16" creationId="{12071265-4F7A-4F0C-9EDF-46D776DCEF56}"/>
          </ac:spMkLst>
        </pc:spChg>
        <pc:spChg chg="mod">
          <ac:chgData name="Meyer Raphael (PAR-ES)" userId="79615dfe-ed48-4e74-a40f-4f7b034c1c27" providerId="ADAL" clId="{5BDC4DE6-AEE0-4FC4-A6D7-CBAF56E9819B}" dt="2021-10-19T12:51:12.456" v="242" actId="2085"/>
          <ac:spMkLst>
            <pc:docMk/>
            <pc:sldMk cId="1537997412" sldId="373"/>
            <ac:spMk id="22" creationId="{B3F5B9B8-EDA8-430F-83AA-59E4DAA4DCA3}"/>
          </ac:spMkLst>
        </pc:spChg>
        <pc:spChg chg="mod">
          <ac:chgData name="Meyer Raphael (PAR-ES)" userId="79615dfe-ed48-4e74-a40f-4f7b034c1c27" providerId="ADAL" clId="{5BDC4DE6-AEE0-4FC4-A6D7-CBAF56E9819B}" dt="2021-10-19T12:50:48.441" v="240" actId="208"/>
          <ac:spMkLst>
            <pc:docMk/>
            <pc:sldMk cId="1537997412" sldId="373"/>
            <ac:spMk id="24" creationId="{FD07A55C-6879-4E52-B5A8-38679864E2FC}"/>
          </ac:spMkLst>
        </pc:spChg>
        <pc:spChg chg="mod">
          <ac:chgData name="Meyer Raphael (PAR-ES)" userId="79615dfe-ed48-4e74-a40f-4f7b034c1c27" providerId="ADAL" clId="{5BDC4DE6-AEE0-4FC4-A6D7-CBAF56E9819B}" dt="2021-10-19T12:28:37.530" v="0" actId="255"/>
          <ac:spMkLst>
            <pc:docMk/>
            <pc:sldMk cId="1537997412" sldId="373"/>
            <ac:spMk id="26" creationId="{B2A2B17F-5283-4548-8C7D-95077C2EAD04}"/>
          </ac:spMkLst>
        </pc:spChg>
        <pc:spChg chg="mod">
          <ac:chgData name="Meyer Raphael (PAR-ES)" userId="79615dfe-ed48-4e74-a40f-4f7b034c1c27" providerId="ADAL" clId="{5BDC4DE6-AEE0-4FC4-A6D7-CBAF56E9819B}" dt="2021-10-19T12:51:09.724" v="241" actId="2085"/>
          <ac:spMkLst>
            <pc:docMk/>
            <pc:sldMk cId="1537997412" sldId="373"/>
            <ac:spMk id="28" creationId="{582710AA-075B-42A9-AAE8-776AAD968DF6}"/>
          </ac:spMkLst>
        </pc:spChg>
        <pc:graphicFrameChg chg="mod">
          <ac:chgData name="Meyer Raphael (PAR-ES)" userId="79615dfe-ed48-4e74-a40f-4f7b034c1c27" providerId="ADAL" clId="{5BDC4DE6-AEE0-4FC4-A6D7-CBAF56E9819B}" dt="2021-10-19T12:40:48.750" v="55" actId="14100"/>
          <ac:graphicFrameMkLst>
            <pc:docMk/>
            <pc:sldMk cId="1537997412" sldId="373"/>
            <ac:graphicFrameMk id="10" creationId="{E856299E-9B60-478F-8674-1045505692C4}"/>
          </ac:graphicFrameMkLst>
        </pc:graphicFrameChg>
        <pc:cxnChg chg="mod">
          <ac:chgData name="Meyer Raphael (PAR-ES)" userId="79615dfe-ed48-4e74-a40f-4f7b034c1c27" providerId="ADAL" clId="{5BDC4DE6-AEE0-4FC4-A6D7-CBAF56E9819B}" dt="2021-10-19T12:34:19.550" v="6" actId="208"/>
          <ac:cxnSpMkLst>
            <pc:docMk/>
            <pc:sldMk cId="1537997412" sldId="373"/>
            <ac:cxnSpMk id="17" creationId="{ADB86D40-94DA-4EA6-A13C-F322B879613C}"/>
          </ac:cxnSpMkLst>
        </pc:cxnChg>
        <pc:cxnChg chg="mod">
          <ac:chgData name="Meyer Raphael (PAR-ES)" userId="79615dfe-ed48-4e74-a40f-4f7b034c1c27" providerId="ADAL" clId="{5BDC4DE6-AEE0-4FC4-A6D7-CBAF56E9819B}" dt="2021-10-19T12:34:19.550" v="6" actId="208"/>
          <ac:cxnSpMkLst>
            <pc:docMk/>
            <pc:sldMk cId="1537997412" sldId="373"/>
            <ac:cxnSpMk id="18" creationId="{4AD487EB-8B7D-42D2-9F65-FA2AF08A717F}"/>
          </ac:cxnSpMkLst>
        </pc:cxnChg>
        <pc:cxnChg chg="mod">
          <ac:chgData name="Meyer Raphael (PAR-ES)" userId="79615dfe-ed48-4e74-a40f-4f7b034c1c27" providerId="ADAL" clId="{5BDC4DE6-AEE0-4FC4-A6D7-CBAF56E9819B}" dt="2021-10-19T12:34:19.550" v="6" actId="208"/>
          <ac:cxnSpMkLst>
            <pc:docMk/>
            <pc:sldMk cId="1537997412" sldId="373"/>
            <ac:cxnSpMk id="21" creationId="{70B5456D-B5DD-4516-B6A3-B39AEE671B52}"/>
          </ac:cxnSpMkLst>
        </pc:cxnChg>
      </pc:sldChg>
      <pc:sldChg chg="modSp del mod ord">
        <pc:chgData name="Meyer Raphael (PAR-ES)" userId="79615dfe-ed48-4e74-a40f-4f7b034c1c27" providerId="ADAL" clId="{5BDC4DE6-AEE0-4FC4-A6D7-CBAF56E9819B}" dt="2021-10-19T13:12:48.434" v="292" actId="47"/>
        <pc:sldMkLst>
          <pc:docMk/>
          <pc:sldMk cId="1860183250" sldId="377"/>
        </pc:sldMkLst>
        <pc:spChg chg="mod">
          <ac:chgData name="Meyer Raphael (PAR-ES)" userId="79615dfe-ed48-4e74-a40f-4f7b034c1c27" providerId="ADAL" clId="{5BDC4DE6-AEE0-4FC4-A6D7-CBAF56E9819B}" dt="2021-10-19T12:28:44.098" v="1" actId="255"/>
          <ac:spMkLst>
            <pc:docMk/>
            <pc:sldMk cId="1860183250" sldId="377"/>
            <ac:spMk id="23" creationId="{BB914326-7AE8-4E56-8D70-FE10C57F72D7}"/>
          </ac:spMkLst>
        </pc:spChg>
      </pc:sldChg>
      <pc:sldChg chg="modSp del mod">
        <pc:chgData name="Meyer Raphael (PAR-ES)" userId="79615dfe-ed48-4e74-a40f-4f7b034c1c27" providerId="ADAL" clId="{5BDC4DE6-AEE0-4FC4-A6D7-CBAF56E9819B}" dt="2021-10-19T13:18:57.314" v="328" actId="47"/>
        <pc:sldMkLst>
          <pc:docMk/>
          <pc:sldMk cId="3254615737" sldId="378"/>
        </pc:sldMkLst>
        <pc:spChg chg="mod">
          <ac:chgData name="Meyer Raphael (PAR-ES)" userId="79615dfe-ed48-4e74-a40f-4f7b034c1c27" providerId="ADAL" clId="{5BDC4DE6-AEE0-4FC4-A6D7-CBAF56E9819B}" dt="2021-10-19T12:28:50.641" v="2" actId="255"/>
          <ac:spMkLst>
            <pc:docMk/>
            <pc:sldMk cId="3254615737" sldId="378"/>
            <ac:spMk id="23" creationId="{C7EA10FB-93CC-4AA7-954F-92959A012B4C}"/>
          </ac:spMkLst>
        </pc:spChg>
      </pc:sldChg>
      <pc:sldChg chg="new del">
        <pc:chgData name="Meyer Raphael (PAR-ES)" userId="79615dfe-ed48-4e74-a40f-4f7b034c1c27" providerId="ADAL" clId="{5BDC4DE6-AEE0-4FC4-A6D7-CBAF56E9819B}" dt="2021-10-19T12:35:27.906" v="9" actId="2696"/>
        <pc:sldMkLst>
          <pc:docMk/>
          <pc:sldMk cId="189337811" sldId="379"/>
        </pc:sldMkLst>
      </pc:sldChg>
      <pc:sldChg chg="addSp delSp modSp add del mod modNotesTx">
        <pc:chgData name="Meyer Raphael (PAR-ES)" userId="79615dfe-ed48-4e74-a40f-4f7b034c1c27" providerId="ADAL" clId="{5BDC4DE6-AEE0-4FC4-A6D7-CBAF56E9819B}" dt="2021-10-20T08:26:05.944" v="339"/>
        <pc:sldMkLst>
          <pc:docMk/>
          <pc:sldMk cId="1199121354" sldId="417"/>
        </pc:sldMkLst>
        <pc:spChg chg="del">
          <ac:chgData name="Meyer Raphael (PAR-ES)" userId="79615dfe-ed48-4e74-a40f-4f7b034c1c27" providerId="ADAL" clId="{5BDC4DE6-AEE0-4FC4-A6D7-CBAF56E9819B}" dt="2021-10-19T12:41:25.427" v="58" actId="478"/>
          <ac:spMkLst>
            <pc:docMk/>
            <pc:sldMk cId="1199121354" sldId="417"/>
            <ac:spMk id="3" creationId="{81D85563-85B7-4BE0-9014-757DF2B14631}"/>
          </ac:spMkLst>
        </pc:spChg>
        <pc:spChg chg="del">
          <ac:chgData name="Meyer Raphael (PAR-ES)" userId="79615dfe-ed48-4e74-a40f-4f7b034c1c27" providerId="ADAL" clId="{5BDC4DE6-AEE0-4FC4-A6D7-CBAF56E9819B}" dt="2021-10-19T12:51:44.732" v="243" actId="478"/>
          <ac:spMkLst>
            <pc:docMk/>
            <pc:sldMk cId="1199121354" sldId="417"/>
            <ac:spMk id="4" creationId="{8B992646-8B87-4BF7-B103-FB9C4D8806E0}"/>
          </ac:spMkLst>
        </pc:spChg>
        <pc:spChg chg="add del mod">
          <ac:chgData name="Meyer Raphael (PAR-ES)" userId="79615dfe-ed48-4e74-a40f-4f7b034c1c27" providerId="ADAL" clId="{5BDC4DE6-AEE0-4FC4-A6D7-CBAF56E9819B}" dt="2021-10-19T12:41:29.708" v="59" actId="478"/>
          <ac:spMkLst>
            <pc:docMk/>
            <pc:sldMk cId="1199121354" sldId="417"/>
            <ac:spMk id="5" creationId="{4A465223-3DBF-44A6-961C-0E631C20DB87}"/>
          </ac:spMkLst>
        </pc:spChg>
        <pc:spChg chg="del">
          <ac:chgData name="Meyer Raphael (PAR-ES)" userId="79615dfe-ed48-4e74-a40f-4f7b034c1c27" providerId="ADAL" clId="{5BDC4DE6-AEE0-4FC4-A6D7-CBAF56E9819B}" dt="2021-10-19T12:41:21.461" v="57" actId="478"/>
          <ac:spMkLst>
            <pc:docMk/>
            <pc:sldMk cId="1199121354" sldId="417"/>
            <ac:spMk id="9" creationId="{F70BA3D6-38B0-481C-8A0D-51F378728B1F}"/>
          </ac:spMkLst>
        </pc:spChg>
        <pc:spChg chg="del">
          <ac:chgData name="Meyer Raphael (PAR-ES)" userId="79615dfe-ed48-4e74-a40f-4f7b034c1c27" providerId="ADAL" clId="{5BDC4DE6-AEE0-4FC4-A6D7-CBAF56E9819B}" dt="2021-10-19T12:41:21.461" v="57" actId="478"/>
          <ac:spMkLst>
            <pc:docMk/>
            <pc:sldMk cId="1199121354" sldId="417"/>
            <ac:spMk id="18" creationId="{4D61A480-4375-4E7D-845D-FEA84CE92776}"/>
          </ac:spMkLst>
        </pc:spChg>
        <pc:spChg chg="del">
          <ac:chgData name="Meyer Raphael (PAR-ES)" userId="79615dfe-ed48-4e74-a40f-4f7b034c1c27" providerId="ADAL" clId="{5BDC4DE6-AEE0-4FC4-A6D7-CBAF56E9819B}" dt="2021-10-19T12:41:21.461" v="57" actId="478"/>
          <ac:spMkLst>
            <pc:docMk/>
            <pc:sldMk cId="1199121354" sldId="417"/>
            <ac:spMk id="20" creationId="{BF4350EB-45E0-46D5-8DEB-774EE2C45342}"/>
          </ac:spMkLst>
        </pc:spChg>
        <pc:spChg chg="del">
          <ac:chgData name="Meyer Raphael (PAR-ES)" userId="79615dfe-ed48-4e74-a40f-4f7b034c1c27" providerId="ADAL" clId="{5BDC4DE6-AEE0-4FC4-A6D7-CBAF56E9819B}" dt="2021-10-19T12:41:21.461" v="57" actId="478"/>
          <ac:spMkLst>
            <pc:docMk/>
            <pc:sldMk cId="1199121354" sldId="417"/>
            <ac:spMk id="21" creationId="{2C725245-EFA2-4BB9-9551-1521B4A61D70}"/>
          </ac:spMkLst>
        </pc:spChg>
        <pc:spChg chg="del">
          <ac:chgData name="Meyer Raphael (PAR-ES)" userId="79615dfe-ed48-4e74-a40f-4f7b034c1c27" providerId="ADAL" clId="{5BDC4DE6-AEE0-4FC4-A6D7-CBAF56E9819B}" dt="2021-10-19T12:41:21.461" v="57" actId="478"/>
          <ac:spMkLst>
            <pc:docMk/>
            <pc:sldMk cId="1199121354" sldId="417"/>
            <ac:spMk id="22" creationId="{6D4770D2-A240-46AA-914B-7F3F8B23F92F}"/>
          </ac:spMkLst>
        </pc:spChg>
        <pc:spChg chg="del">
          <ac:chgData name="Meyer Raphael (PAR-ES)" userId="79615dfe-ed48-4e74-a40f-4f7b034c1c27" providerId="ADAL" clId="{5BDC4DE6-AEE0-4FC4-A6D7-CBAF56E9819B}" dt="2021-10-19T12:41:21.461" v="57" actId="478"/>
          <ac:spMkLst>
            <pc:docMk/>
            <pc:sldMk cId="1199121354" sldId="417"/>
            <ac:spMk id="23" creationId="{6A9D8C72-2A13-4E03-88F6-2938FB5D8EDA}"/>
          </ac:spMkLst>
        </pc:spChg>
        <pc:spChg chg="del">
          <ac:chgData name="Meyer Raphael (PAR-ES)" userId="79615dfe-ed48-4e74-a40f-4f7b034c1c27" providerId="ADAL" clId="{5BDC4DE6-AEE0-4FC4-A6D7-CBAF56E9819B}" dt="2021-10-19T12:41:21.461" v="57" actId="478"/>
          <ac:spMkLst>
            <pc:docMk/>
            <pc:sldMk cId="1199121354" sldId="417"/>
            <ac:spMk id="27" creationId="{8EDBFB5F-27ED-4596-9E05-87CF9C4ADD1E}"/>
          </ac:spMkLst>
        </pc:spChg>
        <pc:spChg chg="del">
          <ac:chgData name="Meyer Raphael (PAR-ES)" userId="79615dfe-ed48-4e74-a40f-4f7b034c1c27" providerId="ADAL" clId="{5BDC4DE6-AEE0-4FC4-A6D7-CBAF56E9819B}" dt="2021-10-19T12:41:21.461" v="57" actId="478"/>
          <ac:spMkLst>
            <pc:docMk/>
            <pc:sldMk cId="1199121354" sldId="417"/>
            <ac:spMk id="30" creationId="{D3D42411-BE14-4553-B813-E619B987CCCE}"/>
          </ac:spMkLst>
        </pc:spChg>
        <pc:spChg chg="del">
          <ac:chgData name="Meyer Raphael (PAR-ES)" userId="79615dfe-ed48-4e74-a40f-4f7b034c1c27" providerId="ADAL" clId="{5BDC4DE6-AEE0-4FC4-A6D7-CBAF56E9819B}" dt="2021-10-19T12:41:21.461" v="57" actId="478"/>
          <ac:spMkLst>
            <pc:docMk/>
            <pc:sldMk cId="1199121354" sldId="417"/>
            <ac:spMk id="42" creationId="{47134A6E-0CFD-4C70-BDB7-952DDD2B62F5}"/>
          </ac:spMkLst>
        </pc:spChg>
        <pc:spChg chg="del">
          <ac:chgData name="Meyer Raphael (PAR-ES)" userId="79615dfe-ed48-4e74-a40f-4f7b034c1c27" providerId="ADAL" clId="{5BDC4DE6-AEE0-4FC4-A6D7-CBAF56E9819B}" dt="2021-10-19T12:41:21.461" v="57" actId="478"/>
          <ac:spMkLst>
            <pc:docMk/>
            <pc:sldMk cId="1199121354" sldId="417"/>
            <ac:spMk id="43" creationId="{E4BD6B9B-73EF-41CF-B331-47D10F440456}"/>
          </ac:spMkLst>
        </pc:spChg>
        <pc:spChg chg="del">
          <ac:chgData name="Meyer Raphael (PAR-ES)" userId="79615dfe-ed48-4e74-a40f-4f7b034c1c27" providerId="ADAL" clId="{5BDC4DE6-AEE0-4FC4-A6D7-CBAF56E9819B}" dt="2021-10-19T12:41:21.461" v="57" actId="478"/>
          <ac:spMkLst>
            <pc:docMk/>
            <pc:sldMk cId="1199121354" sldId="417"/>
            <ac:spMk id="44" creationId="{8E7CFBFF-CA18-46D2-88F2-09D880D7CB47}"/>
          </ac:spMkLst>
        </pc:spChg>
        <pc:spChg chg="del">
          <ac:chgData name="Meyer Raphael (PAR-ES)" userId="79615dfe-ed48-4e74-a40f-4f7b034c1c27" providerId="ADAL" clId="{5BDC4DE6-AEE0-4FC4-A6D7-CBAF56E9819B}" dt="2021-10-19T12:41:21.461" v="57" actId="478"/>
          <ac:spMkLst>
            <pc:docMk/>
            <pc:sldMk cId="1199121354" sldId="417"/>
            <ac:spMk id="45" creationId="{D197CDE1-7E32-4A76-AA03-0737FEF707EC}"/>
          </ac:spMkLst>
        </pc:spChg>
        <pc:spChg chg="del">
          <ac:chgData name="Meyer Raphael (PAR-ES)" userId="79615dfe-ed48-4e74-a40f-4f7b034c1c27" providerId="ADAL" clId="{5BDC4DE6-AEE0-4FC4-A6D7-CBAF56E9819B}" dt="2021-10-19T12:41:21.461" v="57" actId="478"/>
          <ac:spMkLst>
            <pc:docMk/>
            <pc:sldMk cId="1199121354" sldId="417"/>
            <ac:spMk id="46" creationId="{723475C1-9FA4-49E7-8B98-E47E3554B531}"/>
          </ac:spMkLst>
        </pc:spChg>
        <pc:spChg chg="del">
          <ac:chgData name="Meyer Raphael (PAR-ES)" userId="79615dfe-ed48-4e74-a40f-4f7b034c1c27" providerId="ADAL" clId="{5BDC4DE6-AEE0-4FC4-A6D7-CBAF56E9819B}" dt="2021-10-19T12:41:21.461" v="57" actId="478"/>
          <ac:spMkLst>
            <pc:docMk/>
            <pc:sldMk cId="1199121354" sldId="417"/>
            <ac:spMk id="47" creationId="{DDF7F85A-6345-49B3-A0F0-70C890DEC449}"/>
          </ac:spMkLst>
        </pc:spChg>
        <pc:spChg chg="del">
          <ac:chgData name="Meyer Raphael (PAR-ES)" userId="79615dfe-ed48-4e74-a40f-4f7b034c1c27" providerId="ADAL" clId="{5BDC4DE6-AEE0-4FC4-A6D7-CBAF56E9819B}" dt="2021-10-19T12:41:21.461" v="57" actId="478"/>
          <ac:spMkLst>
            <pc:docMk/>
            <pc:sldMk cId="1199121354" sldId="417"/>
            <ac:spMk id="48" creationId="{5215BE24-8823-4A0D-A314-B6816F73075A}"/>
          </ac:spMkLst>
        </pc:spChg>
        <pc:spChg chg="del">
          <ac:chgData name="Meyer Raphael (PAR-ES)" userId="79615dfe-ed48-4e74-a40f-4f7b034c1c27" providerId="ADAL" clId="{5BDC4DE6-AEE0-4FC4-A6D7-CBAF56E9819B}" dt="2021-10-19T12:41:21.461" v="57" actId="478"/>
          <ac:spMkLst>
            <pc:docMk/>
            <pc:sldMk cId="1199121354" sldId="417"/>
            <ac:spMk id="49" creationId="{9D09A6A0-0339-446B-8C7B-596A0DE96E4E}"/>
          </ac:spMkLst>
        </pc:spChg>
        <pc:spChg chg="del">
          <ac:chgData name="Meyer Raphael (PAR-ES)" userId="79615dfe-ed48-4e74-a40f-4f7b034c1c27" providerId="ADAL" clId="{5BDC4DE6-AEE0-4FC4-A6D7-CBAF56E9819B}" dt="2021-10-19T12:41:21.461" v="57" actId="478"/>
          <ac:spMkLst>
            <pc:docMk/>
            <pc:sldMk cId="1199121354" sldId="417"/>
            <ac:spMk id="50" creationId="{2F80CDAB-6693-427E-B826-C619845B8297}"/>
          </ac:spMkLst>
        </pc:spChg>
        <pc:spChg chg="add del mod">
          <ac:chgData name="Meyer Raphael (PAR-ES)" userId="79615dfe-ed48-4e74-a40f-4f7b034c1c27" providerId="ADAL" clId="{5BDC4DE6-AEE0-4FC4-A6D7-CBAF56E9819B}" dt="2021-10-19T12:41:42.293" v="63"/>
          <ac:spMkLst>
            <pc:docMk/>
            <pc:sldMk cId="1199121354" sldId="417"/>
            <ac:spMk id="53" creationId="{CA8629B4-B72B-41CF-828C-22EAFDC67081}"/>
          </ac:spMkLst>
        </pc:spChg>
        <pc:spChg chg="add del mod">
          <ac:chgData name="Meyer Raphael (PAR-ES)" userId="79615dfe-ed48-4e74-a40f-4f7b034c1c27" providerId="ADAL" clId="{5BDC4DE6-AEE0-4FC4-A6D7-CBAF56E9819B}" dt="2021-10-19T12:41:42.293" v="63"/>
          <ac:spMkLst>
            <pc:docMk/>
            <pc:sldMk cId="1199121354" sldId="417"/>
            <ac:spMk id="55" creationId="{93F73DE2-6A51-4A7F-BC84-1AF48150C1D7}"/>
          </ac:spMkLst>
        </pc:spChg>
        <pc:spChg chg="add del mod">
          <ac:chgData name="Meyer Raphael (PAR-ES)" userId="79615dfe-ed48-4e74-a40f-4f7b034c1c27" providerId="ADAL" clId="{5BDC4DE6-AEE0-4FC4-A6D7-CBAF56E9819B}" dt="2021-10-19T12:41:42.293" v="63"/>
          <ac:spMkLst>
            <pc:docMk/>
            <pc:sldMk cId="1199121354" sldId="417"/>
            <ac:spMk id="56" creationId="{88CCB16A-02C4-4A91-9CB8-C580F7CFEBCE}"/>
          </ac:spMkLst>
        </pc:spChg>
        <pc:spChg chg="add del mod">
          <ac:chgData name="Meyer Raphael (PAR-ES)" userId="79615dfe-ed48-4e74-a40f-4f7b034c1c27" providerId="ADAL" clId="{5BDC4DE6-AEE0-4FC4-A6D7-CBAF56E9819B}" dt="2021-10-19T12:41:42.293" v="63"/>
          <ac:spMkLst>
            <pc:docMk/>
            <pc:sldMk cId="1199121354" sldId="417"/>
            <ac:spMk id="59" creationId="{FD945A8B-0A9B-4D36-9D8E-7B57385A46DF}"/>
          </ac:spMkLst>
        </pc:spChg>
        <pc:spChg chg="add del mod">
          <ac:chgData name="Meyer Raphael (PAR-ES)" userId="79615dfe-ed48-4e74-a40f-4f7b034c1c27" providerId="ADAL" clId="{5BDC4DE6-AEE0-4FC4-A6D7-CBAF56E9819B}" dt="2021-10-19T12:41:42.293" v="63"/>
          <ac:spMkLst>
            <pc:docMk/>
            <pc:sldMk cId="1199121354" sldId="417"/>
            <ac:spMk id="60" creationId="{81A5F23D-8B28-425C-8347-C6063107E047}"/>
          </ac:spMkLst>
        </pc:spChg>
        <pc:spChg chg="add del mod">
          <ac:chgData name="Meyer Raphael (PAR-ES)" userId="79615dfe-ed48-4e74-a40f-4f7b034c1c27" providerId="ADAL" clId="{5BDC4DE6-AEE0-4FC4-A6D7-CBAF56E9819B}" dt="2021-10-19T12:41:42.293" v="63"/>
          <ac:spMkLst>
            <pc:docMk/>
            <pc:sldMk cId="1199121354" sldId="417"/>
            <ac:spMk id="61" creationId="{30F17C3A-1B2D-4078-8434-07AA6A114385}"/>
          </ac:spMkLst>
        </pc:spChg>
        <pc:spChg chg="add del mod">
          <ac:chgData name="Meyer Raphael (PAR-ES)" userId="79615dfe-ed48-4e74-a40f-4f7b034c1c27" providerId="ADAL" clId="{5BDC4DE6-AEE0-4FC4-A6D7-CBAF56E9819B}" dt="2021-10-19T12:41:42.293" v="63"/>
          <ac:spMkLst>
            <pc:docMk/>
            <pc:sldMk cId="1199121354" sldId="417"/>
            <ac:spMk id="62" creationId="{468AAB52-3ACA-4B59-8C12-88F5D5757029}"/>
          </ac:spMkLst>
        </pc:spChg>
        <pc:spChg chg="add del mod">
          <ac:chgData name="Meyer Raphael (PAR-ES)" userId="79615dfe-ed48-4e74-a40f-4f7b034c1c27" providerId="ADAL" clId="{5BDC4DE6-AEE0-4FC4-A6D7-CBAF56E9819B}" dt="2021-10-19T12:41:42.293" v="63"/>
          <ac:spMkLst>
            <pc:docMk/>
            <pc:sldMk cId="1199121354" sldId="417"/>
            <ac:spMk id="63" creationId="{EC407985-9F31-4959-AE2E-AE6E8EF56633}"/>
          </ac:spMkLst>
        </pc:spChg>
        <pc:spChg chg="add del mod">
          <ac:chgData name="Meyer Raphael (PAR-ES)" userId="79615dfe-ed48-4e74-a40f-4f7b034c1c27" providerId="ADAL" clId="{5BDC4DE6-AEE0-4FC4-A6D7-CBAF56E9819B}" dt="2021-10-19T12:41:42.293" v="63"/>
          <ac:spMkLst>
            <pc:docMk/>
            <pc:sldMk cId="1199121354" sldId="417"/>
            <ac:spMk id="66" creationId="{16D25EC2-FF5F-4462-80C4-EABC073642F3}"/>
          </ac:spMkLst>
        </pc:spChg>
        <pc:spChg chg="add del mod">
          <ac:chgData name="Meyer Raphael (PAR-ES)" userId="79615dfe-ed48-4e74-a40f-4f7b034c1c27" providerId="ADAL" clId="{5BDC4DE6-AEE0-4FC4-A6D7-CBAF56E9819B}" dt="2021-10-19T12:41:42.293" v="63"/>
          <ac:spMkLst>
            <pc:docMk/>
            <pc:sldMk cId="1199121354" sldId="417"/>
            <ac:spMk id="67" creationId="{5CD34814-22F9-4E27-BBF9-B3B50AAEC510}"/>
          </ac:spMkLst>
        </pc:spChg>
        <pc:spChg chg="add mod">
          <ac:chgData name="Meyer Raphael (PAR-ES)" userId="79615dfe-ed48-4e74-a40f-4f7b034c1c27" providerId="ADAL" clId="{5BDC4DE6-AEE0-4FC4-A6D7-CBAF56E9819B}" dt="2021-10-19T12:48:06.231" v="199" actId="1038"/>
          <ac:spMkLst>
            <pc:docMk/>
            <pc:sldMk cId="1199121354" sldId="417"/>
            <ac:spMk id="70" creationId="{97128262-C4DB-45FF-9830-B2B3CB59FCB9}"/>
          </ac:spMkLst>
        </pc:spChg>
        <pc:spChg chg="add mod">
          <ac:chgData name="Meyer Raphael (PAR-ES)" userId="79615dfe-ed48-4e74-a40f-4f7b034c1c27" providerId="ADAL" clId="{5BDC4DE6-AEE0-4FC4-A6D7-CBAF56E9819B}" dt="2021-10-19T12:42:26.402" v="71" actId="1036"/>
          <ac:spMkLst>
            <pc:docMk/>
            <pc:sldMk cId="1199121354" sldId="417"/>
            <ac:spMk id="72" creationId="{6F9FBCE7-5D15-4CAA-93AE-6B499E43CCB1}"/>
          </ac:spMkLst>
        </pc:spChg>
        <pc:spChg chg="add mod">
          <ac:chgData name="Meyer Raphael (PAR-ES)" userId="79615dfe-ed48-4e74-a40f-4f7b034c1c27" providerId="ADAL" clId="{5BDC4DE6-AEE0-4FC4-A6D7-CBAF56E9819B}" dt="2021-10-19T12:48:41.948" v="236" actId="1038"/>
          <ac:spMkLst>
            <pc:docMk/>
            <pc:sldMk cId="1199121354" sldId="417"/>
            <ac:spMk id="73" creationId="{B5D91A14-94DF-47AC-B0A6-03933B02977C}"/>
          </ac:spMkLst>
        </pc:spChg>
        <pc:spChg chg="add mod">
          <ac:chgData name="Meyer Raphael (PAR-ES)" userId="79615dfe-ed48-4e74-a40f-4f7b034c1c27" providerId="ADAL" clId="{5BDC4DE6-AEE0-4FC4-A6D7-CBAF56E9819B}" dt="2021-10-19T12:41:42.316" v="64"/>
          <ac:spMkLst>
            <pc:docMk/>
            <pc:sldMk cId="1199121354" sldId="417"/>
            <ac:spMk id="76" creationId="{5557F6F9-66AD-4DED-9A42-7FB08C22F3FB}"/>
          </ac:spMkLst>
        </pc:spChg>
        <pc:spChg chg="add mod">
          <ac:chgData name="Meyer Raphael (PAR-ES)" userId="79615dfe-ed48-4e74-a40f-4f7b034c1c27" providerId="ADAL" clId="{5BDC4DE6-AEE0-4FC4-A6D7-CBAF56E9819B}" dt="2021-10-19T12:41:42.316" v="64"/>
          <ac:spMkLst>
            <pc:docMk/>
            <pc:sldMk cId="1199121354" sldId="417"/>
            <ac:spMk id="77" creationId="{173BBFC2-588A-4D4B-A34B-619BBA0689E6}"/>
          </ac:spMkLst>
        </pc:spChg>
        <pc:spChg chg="add mod">
          <ac:chgData name="Meyer Raphael (PAR-ES)" userId="79615dfe-ed48-4e74-a40f-4f7b034c1c27" providerId="ADAL" clId="{5BDC4DE6-AEE0-4FC4-A6D7-CBAF56E9819B}" dt="2021-10-19T12:41:42.316" v="64"/>
          <ac:spMkLst>
            <pc:docMk/>
            <pc:sldMk cId="1199121354" sldId="417"/>
            <ac:spMk id="78" creationId="{B20A57DC-4D38-4065-B8FA-8ECB9A858165}"/>
          </ac:spMkLst>
        </pc:spChg>
        <pc:spChg chg="add mod">
          <ac:chgData name="Meyer Raphael (PAR-ES)" userId="79615dfe-ed48-4e74-a40f-4f7b034c1c27" providerId="ADAL" clId="{5BDC4DE6-AEE0-4FC4-A6D7-CBAF56E9819B}" dt="2021-10-19T12:41:42.316" v="64"/>
          <ac:spMkLst>
            <pc:docMk/>
            <pc:sldMk cId="1199121354" sldId="417"/>
            <ac:spMk id="79" creationId="{1630E9BD-5F7C-4F45-B986-3CEE5B7EF862}"/>
          </ac:spMkLst>
        </pc:spChg>
        <pc:spChg chg="add mod">
          <ac:chgData name="Meyer Raphael (PAR-ES)" userId="79615dfe-ed48-4e74-a40f-4f7b034c1c27" providerId="ADAL" clId="{5BDC4DE6-AEE0-4FC4-A6D7-CBAF56E9819B}" dt="2021-10-19T12:41:42.316" v="64"/>
          <ac:spMkLst>
            <pc:docMk/>
            <pc:sldMk cId="1199121354" sldId="417"/>
            <ac:spMk id="80" creationId="{0B09E808-A6DF-45C1-94FD-29227B7F4709}"/>
          </ac:spMkLst>
        </pc:spChg>
        <pc:spChg chg="add mod">
          <ac:chgData name="Meyer Raphael (PAR-ES)" userId="79615dfe-ed48-4e74-a40f-4f7b034c1c27" providerId="ADAL" clId="{5BDC4DE6-AEE0-4FC4-A6D7-CBAF56E9819B}" dt="2021-10-19T12:48:16.470" v="201" actId="1076"/>
          <ac:spMkLst>
            <pc:docMk/>
            <pc:sldMk cId="1199121354" sldId="417"/>
            <ac:spMk id="83" creationId="{B8DCE921-BC0E-49AB-ADDE-F6CE5BB90E92}"/>
          </ac:spMkLst>
        </pc:spChg>
        <pc:spChg chg="add mod">
          <ac:chgData name="Meyer Raphael (PAR-ES)" userId="79615dfe-ed48-4e74-a40f-4f7b034c1c27" providerId="ADAL" clId="{5BDC4DE6-AEE0-4FC4-A6D7-CBAF56E9819B}" dt="2021-10-19T12:41:42.316" v="64"/>
          <ac:spMkLst>
            <pc:docMk/>
            <pc:sldMk cId="1199121354" sldId="417"/>
            <ac:spMk id="84" creationId="{F08B6033-FC3D-4B76-85D8-914B11407B3C}"/>
          </ac:spMkLst>
        </pc:spChg>
        <pc:grpChg chg="del">
          <ac:chgData name="Meyer Raphael (PAR-ES)" userId="79615dfe-ed48-4e74-a40f-4f7b034c1c27" providerId="ADAL" clId="{5BDC4DE6-AEE0-4FC4-A6D7-CBAF56E9819B}" dt="2021-10-19T12:41:21.461" v="57" actId="478"/>
          <ac:grpSpMkLst>
            <pc:docMk/>
            <pc:sldMk cId="1199121354" sldId="417"/>
            <ac:grpSpMk id="11" creationId="{381633ED-7E60-4EF5-ABDE-0A6E66941F1E}"/>
          </ac:grpSpMkLst>
        </pc:grpChg>
        <pc:grpChg chg="del">
          <ac:chgData name="Meyer Raphael (PAR-ES)" userId="79615dfe-ed48-4e74-a40f-4f7b034c1c27" providerId="ADAL" clId="{5BDC4DE6-AEE0-4FC4-A6D7-CBAF56E9819B}" dt="2021-10-19T12:41:21.461" v="57" actId="478"/>
          <ac:grpSpMkLst>
            <pc:docMk/>
            <pc:sldMk cId="1199121354" sldId="417"/>
            <ac:grpSpMk id="19" creationId="{CD4175A5-40B1-4B70-83E4-D1AC8E7D49C8}"/>
          </ac:grpSpMkLst>
        </pc:grpChg>
        <pc:grpChg chg="del">
          <ac:chgData name="Meyer Raphael (PAR-ES)" userId="79615dfe-ed48-4e74-a40f-4f7b034c1c27" providerId="ADAL" clId="{5BDC4DE6-AEE0-4FC4-A6D7-CBAF56E9819B}" dt="2021-10-19T12:41:21.461" v="57" actId="478"/>
          <ac:grpSpMkLst>
            <pc:docMk/>
            <pc:sldMk cId="1199121354" sldId="417"/>
            <ac:grpSpMk id="32" creationId="{31592520-ECF4-44BB-948B-4F969CB683CC}"/>
          </ac:grpSpMkLst>
        </pc:grpChg>
        <pc:grpChg chg="del">
          <ac:chgData name="Meyer Raphael (PAR-ES)" userId="79615dfe-ed48-4e74-a40f-4f7b034c1c27" providerId="ADAL" clId="{5BDC4DE6-AEE0-4FC4-A6D7-CBAF56E9819B}" dt="2021-10-19T12:41:21.461" v="57" actId="478"/>
          <ac:grpSpMkLst>
            <pc:docMk/>
            <pc:sldMk cId="1199121354" sldId="417"/>
            <ac:grpSpMk id="36" creationId="{70BADF19-335E-4E30-A9C6-AAE735CA9D31}"/>
          </ac:grpSpMkLst>
        </pc:grpChg>
        <pc:grpChg chg="del">
          <ac:chgData name="Meyer Raphael (PAR-ES)" userId="79615dfe-ed48-4e74-a40f-4f7b034c1c27" providerId="ADAL" clId="{5BDC4DE6-AEE0-4FC4-A6D7-CBAF56E9819B}" dt="2021-10-19T12:41:21.461" v="57" actId="478"/>
          <ac:grpSpMkLst>
            <pc:docMk/>
            <pc:sldMk cId="1199121354" sldId="417"/>
            <ac:grpSpMk id="39" creationId="{F499651E-79A4-4EAE-9A7E-6E7B49050531}"/>
          </ac:grpSpMkLst>
        </pc:grpChg>
        <pc:graphicFrameChg chg="add del mod">
          <ac:chgData name="Meyer Raphael (PAR-ES)" userId="79615dfe-ed48-4e74-a40f-4f7b034c1c27" providerId="ADAL" clId="{5BDC4DE6-AEE0-4FC4-A6D7-CBAF56E9819B}" dt="2021-10-19T12:41:42.293" v="63"/>
          <ac:graphicFrameMkLst>
            <pc:docMk/>
            <pc:sldMk cId="1199121354" sldId="417"/>
            <ac:graphicFrameMk id="51" creationId="{0857285B-009C-4C3E-B02D-E05A3AEE6F5F}"/>
          </ac:graphicFrameMkLst>
        </pc:graphicFrameChg>
        <pc:graphicFrameChg chg="add mod">
          <ac:chgData name="Meyer Raphael (PAR-ES)" userId="79615dfe-ed48-4e74-a40f-4f7b034c1c27" providerId="ADAL" clId="{5BDC4DE6-AEE0-4FC4-A6D7-CBAF56E9819B}" dt="2021-10-19T12:46:44.409" v="173"/>
          <ac:graphicFrameMkLst>
            <pc:docMk/>
            <pc:sldMk cId="1199121354" sldId="417"/>
            <ac:graphicFrameMk id="68" creationId="{41D4B4B9-45BD-4B09-B57A-D7C615C4CD23}"/>
          </ac:graphicFrameMkLst>
        </pc:graphicFrameChg>
        <pc:graphicFrameChg chg="add del mod">
          <ac:chgData name="Meyer Raphael (PAR-ES)" userId="79615dfe-ed48-4e74-a40f-4f7b034c1c27" providerId="ADAL" clId="{5BDC4DE6-AEE0-4FC4-A6D7-CBAF56E9819B}" dt="2021-10-19T12:45:59.908" v="171" actId="478"/>
          <ac:graphicFrameMkLst>
            <pc:docMk/>
            <pc:sldMk cId="1199121354" sldId="417"/>
            <ac:graphicFrameMk id="85" creationId="{08BC2BD6-BD93-4DA9-9ABD-A9DEC97CA7D1}"/>
          </ac:graphicFrameMkLst>
        </pc:graphicFrameChg>
        <pc:cxnChg chg="add del mod">
          <ac:chgData name="Meyer Raphael (PAR-ES)" userId="79615dfe-ed48-4e74-a40f-4f7b034c1c27" providerId="ADAL" clId="{5BDC4DE6-AEE0-4FC4-A6D7-CBAF56E9819B}" dt="2021-10-19T12:46:56.872" v="174" actId="478"/>
          <ac:cxnSpMkLst>
            <pc:docMk/>
            <pc:sldMk cId="1199121354" sldId="417"/>
            <ac:cxnSpMk id="7" creationId="{39AD7DAF-3336-4F8F-AAAB-7455DF6655CC}"/>
          </ac:cxnSpMkLst>
        </pc:cxnChg>
        <pc:cxnChg chg="add del mod">
          <ac:chgData name="Meyer Raphael (PAR-ES)" userId="79615dfe-ed48-4e74-a40f-4f7b034c1c27" providerId="ADAL" clId="{5BDC4DE6-AEE0-4FC4-A6D7-CBAF56E9819B}" dt="2021-10-19T12:41:42.293" v="63"/>
          <ac:cxnSpMkLst>
            <pc:docMk/>
            <pc:sldMk cId="1199121354" sldId="417"/>
            <ac:cxnSpMk id="52" creationId="{BCE94ADE-5EA0-41D6-B857-09AAE153FB73}"/>
          </ac:cxnSpMkLst>
        </pc:cxnChg>
        <pc:cxnChg chg="add del mod">
          <ac:chgData name="Meyer Raphael (PAR-ES)" userId="79615dfe-ed48-4e74-a40f-4f7b034c1c27" providerId="ADAL" clId="{5BDC4DE6-AEE0-4FC4-A6D7-CBAF56E9819B}" dt="2021-10-19T12:41:42.293" v="63"/>
          <ac:cxnSpMkLst>
            <pc:docMk/>
            <pc:sldMk cId="1199121354" sldId="417"/>
            <ac:cxnSpMk id="54" creationId="{AC02757B-DF32-4B11-A1B6-E6603C463F1C}"/>
          </ac:cxnSpMkLst>
        </pc:cxnChg>
        <pc:cxnChg chg="add del mod">
          <ac:chgData name="Meyer Raphael (PAR-ES)" userId="79615dfe-ed48-4e74-a40f-4f7b034c1c27" providerId="ADAL" clId="{5BDC4DE6-AEE0-4FC4-A6D7-CBAF56E9819B}" dt="2021-10-19T12:41:42.293" v="63"/>
          <ac:cxnSpMkLst>
            <pc:docMk/>
            <pc:sldMk cId="1199121354" sldId="417"/>
            <ac:cxnSpMk id="57" creationId="{E3EFA056-559D-4F93-98BA-46F47EDA0B4F}"/>
          </ac:cxnSpMkLst>
        </pc:cxnChg>
        <pc:cxnChg chg="add del mod">
          <ac:chgData name="Meyer Raphael (PAR-ES)" userId="79615dfe-ed48-4e74-a40f-4f7b034c1c27" providerId="ADAL" clId="{5BDC4DE6-AEE0-4FC4-A6D7-CBAF56E9819B}" dt="2021-10-19T12:41:42.293" v="63"/>
          <ac:cxnSpMkLst>
            <pc:docMk/>
            <pc:sldMk cId="1199121354" sldId="417"/>
            <ac:cxnSpMk id="58" creationId="{B7EEEFEC-0DDE-417D-A37E-6387DC936A8C}"/>
          </ac:cxnSpMkLst>
        </pc:cxnChg>
        <pc:cxnChg chg="add del mod">
          <ac:chgData name="Meyer Raphael (PAR-ES)" userId="79615dfe-ed48-4e74-a40f-4f7b034c1c27" providerId="ADAL" clId="{5BDC4DE6-AEE0-4FC4-A6D7-CBAF56E9819B}" dt="2021-10-19T12:41:42.293" v="63"/>
          <ac:cxnSpMkLst>
            <pc:docMk/>
            <pc:sldMk cId="1199121354" sldId="417"/>
            <ac:cxnSpMk id="64" creationId="{009F0525-6953-423A-A0C5-BE7F93368B43}"/>
          </ac:cxnSpMkLst>
        </pc:cxnChg>
        <pc:cxnChg chg="add del mod">
          <ac:chgData name="Meyer Raphael (PAR-ES)" userId="79615dfe-ed48-4e74-a40f-4f7b034c1c27" providerId="ADAL" clId="{5BDC4DE6-AEE0-4FC4-A6D7-CBAF56E9819B}" dt="2021-10-19T12:41:42.293" v="63"/>
          <ac:cxnSpMkLst>
            <pc:docMk/>
            <pc:sldMk cId="1199121354" sldId="417"/>
            <ac:cxnSpMk id="65" creationId="{F82B5FEE-B681-4AD5-A8BE-F2CEC176AAF7}"/>
          </ac:cxnSpMkLst>
        </pc:cxnChg>
        <pc:cxnChg chg="add mod">
          <ac:chgData name="Meyer Raphael (PAR-ES)" userId="79615dfe-ed48-4e74-a40f-4f7b034c1c27" providerId="ADAL" clId="{5BDC4DE6-AEE0-4FC4-A6D7-CBAF56E9819B}" dt="2021-10-19T12:48:06.231" v="199" actId="1038"/>
          <ac:cxnSpMkLst>
            <pc:docMk/>
            <pc:sldMk cId="1199121354" sldId="417"/>
            <ac:cxnSpMk id="69" creationId="{46E56FF7-63FD-4F29-A682-A41C68B2DFB4}"/>
          </ac:cxnSpMkLst>
        </pc:cxnChg>
        <pc:cxnChg chg="add mod">
          <ac:chgData name="Meyer Raphael (PAR-ES)" userId="79615dfe-ed48-4e74-a40f-4f7b034c1c27" providerId="ADAL" clId="{5BDC4DE6-AEE0-4FC4-A6D7-CBAF56E9819B}" dt="2021-10-19T12:48:41.948" v="236" actId="1038"/>
          <ac:cxnSpMkLst>
            <pc:docMk/>
            <pc:sldMk cId="1199121354" sldId="417"/>
            <ac:cxnSpMk id="71" creationId="{B11A0BDA-48C0-4B0E-946A-61B766F1FFE8}"/>
          </ac:cxnSpMkLst>
        </pc:cxnChg>
        <pc:cxnChg chg="add mod">
          <ac:chgData name="Meyer Raphael (PAR-ES)" userId="79615dfe-ed48-4e74-a40f-4f7b034c1c27" providerId="ADAL" clId="{5BDC4DE6-AEE0-4FC4-A6D7-CBAF56E9819B}" dt="2021-10-19T12:47:05.678" v="180" actId="1038"/>
          <ac:cxnSpMkLst>
            <pc:docMk/>
            <pc:sldMk cId="1199121354" sldId="417"/>
            <ac:cxnSpMk id="74" creationId="{D7E58C1A-BD59-45B7-88A0-BCE35B2770F9}"/>
          </ac:cxnSpMkLst>
        </pc:cxnChg>
        <pc:cxnChg chg="add mod">
          <ac:chgData name="Meyer Raphael (PAR-ES)" userId="79615dfe-ed48-4e74-a40f-4f7b034c1c27" providerId="ADAL" clId="{5BDC4DE6-AEE0-4FC4-A6D7-CBAF56E9819B}" dt="2021-10-19T13:14:03.011" v="300" actId="14100"/>
          <ac:cxnSpMkLst>
            <pc:docMk/>
            <pc:sldMk cId="1199121354" sldId="417"/>
            <ac:cxnSpMk id="75" creationId="{C61E375B-2BF6-4CFE-A117-F1B033D18530}"/>
          </ac:cxnSpMkLst>
        </pc:cxnChg>
        <pc:cxnChg chg="add mod">
          <ac:chgData name="Meyer Raphael (PAR-ES)" userId="79615dfe-ed48-4e74-a40f-4f7b034c1c27" providerId="ADAL" clId="{5BDC4DE6-AEE0-4FC4-A6D7-CBAF56E9819B}" dt="2021-10-19T13:14:26.251" v="303" actId="14100"/>
          <ac:cxnSpMkLst>
            <pc:docMk/>
            <pc:sldMk cId="1199121354" sldId="417"/>
            <ac:cxnSpMk id="81" creationId="{077B3997-639A-4D61-8279-A4B77BBDF59A}"/>
          </ac:cxnSpMkLst>
        </pc:cxnChg>
        <pc:cxnChg chg="add mod">
          <ac:chgData name="Meyer Raphael (PAR-ES)" userId="79615dfe-ed48-4e74-a40f-4f7b034c1c27" providerId="ADAL" clId="{5BDC4DE6-AEE0-4FC4-A6D7-CBAF56E9819B}" dt="2021-10-19T13:14:12.149" v="301" actId="14100"/>
          <ac:cxnSpMkLst>
            <pc:docMk/>
            <pc:sldMk cId="1199121354" sldId="417"/>
            <ac:cxnSpMk id="82" creationId="{2947710C-C5CE-445D-8763-663FCA730DFC}"/>
          </ac:cxnSpMkLst>
        </pc:cxnChg>
      </pc:sldChg>
      <pc:sldChg chg="add del">
        <pc:chgData name="Meyer Raphael (PAR-ES)" userId="79615dfe-ed48-4e74-a40f-4f7b034c1c27" providerId="ADAL" clId="{5BDC4DE6-AEE0-4FC4-A6D7-CBAF56E9819B}" dt="2021-10-19T13:12:51.513" v="293" actId="47"/>
        <pc:sldMkLst>
          <pc:docMk/>
          <pc:sldMk cId="3566475849" sldId="418"/>
        </pc:sldMkLst>
      </pc:sldChg>
      <pc:sldChg chg="modSp add mod">
        <pc:chgData name="Meyer Raphael (PAR-ES)" userId="79615dfe-ed48-4e74-a40f-4f7b034c1c27" providerId="ADAL" clId="{5BDC4DE6-AEE0-4FC4-A6D7-CBAF56E9819B}" dt="2021-10-19T13:59:32.682" v="336"/>
        <pc:sldMkLst>
          <pc:docMk/>
          <pc:sldMk cId="200941906" sldId="419"/>
        </pc:sldMkLst>
        <pc:spChg chg="mod">
          <ac:chgData name="Meyer Raphael (PAR-ES)" userId="79615dfe-ed48-4e74-a40f-4f7b034c1c27" providerId="ADAL" clId="{5BDC4DE6-AEE0-4FC4-A6D7-CBAF56E9819B}" dt="2021-10-19T13:11:44.551" v="285" actId="20577"/>
          <ac:spMkLst>
            <pc:docMk/>
            <pc:sldMk cId="200941906" sldId="419"/>
            <ac:spMk id="77" creationId="{173BBFC2-588A-4D4B-A34B-619BBA0689E6}"/>
          </ac:spMkLst>
        </pc:spChg>
        <pc:spChg chg="mod">
          <ac:chgData name="Meyer Raphael (PAR-ES)" userId="79615dfe-ed48-4e74-a40f-4f7b034c1c27" providerId="ADAL" clId="{5BDC4DE6-AEE0-4FC4-A6D7-CBAF56E9819B}" dt="2021-10-19T13:11:31.144" v="279"/>
          <ac:spMkLst>
            <pc:docMk/>
            <pc:sldMk cId="200941906" sldId="419"/>
            <ac:spMk id="80" creationId="{0B09E808-A6DF-45C1-94FD-29227B7F4709}"/>
          </ac:spMkLst>
        </pc:spChg>
        <pc:spChg chg="mod">
          <ac:chgData name="Meyer Raphael (PAR-ES)" userId="79615dfe-ed48-4e74-a40f-4f7b034c1c27" providerId="ADAL" clId="{5BDC4DE6-AEE0-4FC4-A6D7-CBAF56E9819B}" dt="2021-10-19T13:01:06.695" v="278"/>
          <ac:spMkLst>
            <pc:docMk/>
            <pc:sldMk cId="200941906" sldId="419"/>
            <ac:spMk id="83" creationId="{B8DCE921-BC0E-49AB-ADDE-F6CE5BB90E92}"/>
          </ac:spMkLst>
        </pc:spChg>
        <pc:graphicFrameChg chg="mod">
          <ac:chgData name="Meyer Raphael (PAR-ES)" userId="79615dfe-ed48-4e74-a40f-4f7b034c1c27" providerId="ADAL" clId="{5BDC4DE6-AEE0-4FC4-A6D7-CBAF56E9819B}" dt="2021-10-19T13:59:32.682" v="336"/>
          <ac:graphicFrameMkLst>
            <pc:docMk/>
            <pc:sldMk cId="200941906" sldId="419"/>
            <ac:graphicFrameMk id="68" creationId="{41D4B4B9-45BD-4B09-B57A-D7C615C4CD23}"/>
          </ac:graphicFrameMkLst>
        </pc:graphicFrameChg>
        <pc:cxnChg chg="mod">
          <ac:chgData name="Meyer Raphael (PAR-ES)" userId="79615dfe-ed48-4e74-a40f-4f7b034c1c27" providerId="ADAL" clId="{5BDC4DE6-AEE0-4FC4-A6D7-CBAF56E9819B}" dt="2021-10-19T13:14:47.107" v="305" actId="14100"/>
          <ac:cxnSpMkLst>
            <pc:docMk/>
            <pc:sldMk cId="200941906" sldId="419"/>
            <ac:cxnSpMk id="75" creationId="{C61E375B-2BF6-4CFE-A117-F1B033D18530}"/>
          </ac:cxnSpMkLst>
        </pc:cxnChg>
        <pc:cxnChg chg="mod">
          <ac:chgData name="Meyer Raphael (PAR-ES)" userId="79615dfe-ed48-4e74-a40f-4f7b034c1c27" providerId="ADAL" clId="{5BDC4DE6-AEE0-4FC4-A6D7-CBAF56E9819B}" dt="2021-10-19T13:15:01.238" v="308" actId="14100"/>
          <ac:cxnSpMkLst>
            <pc:docMk/>
            <pc:sldMk cId="200941906" sldId="419"/>
            <ac:cxnSpMk id="81" creationId="{077B3997-639A-4D61-8279-A4B77BBDF59A}"/>
          </ac:cxnSpMkLst>
        </pc:cxnChg>
        <pc:cxnChg chg="mod">
          <ac:chgData name="Meyer Raphael (PAR-ES)" userId="79615dfe-ed48-4e74-a40f-4f7b034c1c27" providerId="ADAL" clId="{5BDC4DE6-AEE0-4FC4-A6D7-CBAF56E9819B}" dt="2021-10-19T13:14:52.304" v="306" actId="14100"/>
          <ac:cxnSpMkLst>
            <pc:docMk/>
            <pc:sldMk cId="200941906" sldId="419"/>
            <ac:cxnSpMk id="82" creationId="{2947710C-C5CE-445D-8763-663FCA730DFC}"/>
          </ac:cxnSpMkLst>
        </pc:cxnChg>
      </pc:sldChg>
      <pc:sldChg chg="modSp add mod">
        <pc:chgData name="Meyer Raphael (PAR-ES)" userId="79615dfe-ed48-4e74-a40f-4f7b034c1c27" providerId="ADAL" clId="{5BDC4DE6-AEE0-4FC4-A6D7-CBAF56E9819B}" dt="2021-10-19T13:59:47.885" v="338"/>
        <pc:sldMkLst>
          <pc:docMk/>
          <pc:sldMk cId="3299254992" sldId="420"/>
        </pc:sldMkLst>
        <pc:spChg chg="mod">
          <ac:chgData name="Meyer Raphael (PAR-ES)" userId="79615dfe-ed48-4e74-a40f-4f7b034c1c27" providerId="ADAL" clId="{5BDC4DE6-AEE0-4FC4-A6D7-CBAF56E9819B}" dt="2021-10-19T13:17:14.099" v="322" actId="20577"/>
          <ac:spMkLst>
            <pc:docMk/>
            <pc:sldMk cId="3299254992" sldId="420"/>
            <ac:spMk id="77" creationId="{173BBFC2-588A-4D4B-A34B-619BBA0689E6}"/>
          </ac:spMkLst>
        </pc:spChg>
        <pc:spChg chg="mod">
          <ac:chgData name="Meyer Raphael (PAR-ES)" userId="79615dfe-ed48-4e74-a40f-4f7b034c1c27" providerId="ADAL" clId="{5BDC4DE6-AEE0-4FC4-A6D7-CBAF56E9819B}" dt="2021-10-19T13:17:07.295" v="316"/>
          <ac:spMkLst>
            <pc:docMk/>
            <pc:sldMk cId="3299254992" sldId="420"/>
            <ac:spMk id="80" creationId="{0B09E808-A6DF-45C1-94FD-29227B7F4709}"/>
          </ac:spMkLst>
        </pc:spChg>
        <pc:spChg chg="mod">
          <ac:chgData name="Meyer Raphael (PAR-ES)" userId="79615dfe-ed48-4e74-a40f-4f7b034c1c27" providerId="ADAL" clId="{5BDC4DE6-AEE0-4FC4-A6D7-CBAF56E9819B}" dt="2021-10-19T13:16:37.137" v="315"/>
          <ac:spMkLst>
            <pc:docMk/>
            <pc:sldMk cId="3299254992" sldId="420"/>
            <ac:spMk id="83" creationId="{B8DCE921-BC0E-49AB-ADDE-F6CE5BB90E92}"/>
          </ac:spMkLst>
        </pc:spChg>
        <pc:graphicFrameChg chg="mod">
          <ac:chgData name="Meyer Raphael (PAR-ES)" userId="79615dfe-ed48-4e74-a40f-4f7b034c1c27" providerId="ADAL" clId="{5BDC4DE6-AEE0-4FC4-A6D7-CBAF56E9819B}" dt="2021-10-19T13:59:47.885" v="338"/>
          <ac:graphicFrameMkLst>
            <pc:docMk/>
            <pc:sldMk cId="3299254992" sldId="420"/>
            <ac:graphicFrameMk id="68" creationId="{41D4B4B9-45BD-4B09-B57A-D7C615C4CD23}"/>
          </ac:graphicFrameMkLst>
        </pc:graphicFrameChg>
      </pc:sldChg>
      <pc:sldMasterChg chg="delSp mod">
        <pc:chgData name="Meyer Raphael (PAR-ES)" userId="79615dfe-ed48-4e74-a40f-4f7b034c1c27" providerId="ADAL" clId="{5BDC4DE6-AEE0-4FC4-A6D7-CBAF56E9819B}" dt="2021-10-19T13:12:15.772" v="287"/>
        <pc:sldMasterMkLst>
          <pc:docMk/>
          <pc:sldMasterMk cId="3307758698" sldId="2147483660"/>
        </pc:sldMasterMkLst>
        <pc:spChg chg="del">
          <ac:chgData name="Meyer Raphael (PAR-ES)" userId="79615dfe-ed48-4e74-a40f-4f7b034c1c27" providerId="ADAL" clId="{5BDC4DE6-AEE0-4FC4-A6D7-CBAF56E9819B}" dt="2021-10-19T13:12:15.772" v="287"/>
          <ac:spMkLst>
            <pc:docMk/>
            <pc:sldMasterMk cId="3307758698" sldId="2147483660"/>
            <ac:spMk id="7" creationId="{1E4D2D91-D134-4644-9D78-F6F8D7DE1E45}"/>
          </ac:spMkLst>
        </pc:spChg>
      </pc:sldMasterChg>
      <pc:sldMasterChg chg="delSp mod">
        <pc:chgData name="Meyer Raphael (PAR-ES)" userId="79615dfe-ed48-4e74-a40f-4f7b034c1c27" providerId="ADAL" clId="{5BDC4DE6-AEE0-4FC4-A6D7-CBAF56E9819B}" dt="2021-10-19T13:12:15.772" v="289"/>
        <pc:sldMasterMkLst>
          <pc:docMk/>
          <pc:sldMasterMk cId="3007821643" sldId="2147483676"/>
        </pc:sldMasterMkLst>
        <pc:spChg chg="del">
          <ac:chgData name="Meyer Raphael (PAR-ES)" userId="79615dfe-ed48-4e74-a40f-4f7b034c1c27" providerId="ADAL" clId="{5BDC4DE6-AEE0-4FC4-A6D7-CBAF56E9819B}" dt="2021-10-19T13:12:15.772" v="289"/>
          <ac:spMkLst>
            <pc:docMk/>
            <pc:sldMasterMk cId="3007821643" sldId="2147483676"/>
            <ac:spMk id="7" creationId="{5E12FC31-FC0C-4EA2-A0F0-EC04857B99CD}"/>
          </ac:spMkLst>
        </pc:spChg>
      </pc:sldMasterChg>
      <pc:sldMasterChg chg="addSp delSp modSp mod">
        <pc:chgData name="Meyer Raphael (PAR-ES)" userId="79615dfe-ed48-4e74-a40f-4f7b034c1c27" providerId="ADAL" clId="{5BDC4DE6-AEE0-4FC4-A6D7-CBAF56E9819B}" dt="2021-10-19T13:12:15.772" v="291"/>
        <pc:sldMasterMkLst>
          <pc:docMk/>
          <pc:sldMasterMk cId="247366169" sldId="2147483712"/>
        </pc:sldMasterMkLst>
        <pc:spChg chg="add del mod ord modVis">
          <ac:chgData name="Meyer Raphael (PAR-ES)" userId="79615dfe-ed48-4e74-a40f-4f7b034c1c27" providerId="ADAL" clId="{5BDC4DE6-AEE0-4FC4-A6D7-CBAF56E9819B}" dt="2021-10-19T13:12:15.772" v="291"/>
          <ac:spMkLst>
            <pc:docMk/>
            <pc:sldMasterMk cId="247366169" sldId="2147483712"/>
            <ac:spMk id="7" creationId="{E45453EA-9FEE-45AC-A4F8-82EE7E38401B}"/>
          </ac:spMkLst>
        </pc:spChg>
      </pc:sldMasterChg>
    </pc:docChg>
  </pc:docChgLst>
  <pc:docChgLst>
    <pc:chgData name="Meyer Raphael (PAR-ES)" userId="79615dfe-ed48-4e74-a40f-4f7b034c1c27" providerId="ADAL" clId="{9E6DBD48-31D1-4C20-A692-B18B66411399}"/>
    <pc:docChg chg="modSld">
      <pc:chgData name="Meyer Raphael (PAR-ES)" userId="79615dfe-ed48-4e74-a40f-4f7b034c1c27" providerId="ADAL" clId="{9E6DBD48-31D1-4C20-A692-B18B66411399}" dt="2021-06-24T11:39:14.460" v="85" actId="1076"/>
      <pc:docMkLst>
        <pc:docMk/>
      </pc:docMkLst>
      <pc:sldChg chg="modSp mod">
        <pc:chgData name="Meyer Raphael (PAR-ES)" userId="79615dfe-ed48-4e74-a40f-4f7b034c1c27" providerId="ADAL" clId="{9E6DBD48-31D1-4C20-A692-B18B66411399}" dt="2021-06-24T11:39:02.493" v="83" actId="1076"/>
        <pc:sldMkLst>
          <pc:docMk/>
          <pc:sldMk cId="1495152177" sldId="298"/>
        </pc:sldMkLst>
        <pc:spChg chg="mod">
          <ac:chgData name="Meyer Raphael (PAR-ES)" userId="79615dfe-ed48-4e74-a40f-4f7b034c1c27" providerId="ADAL" clId="{9E6DBD48-31D1-4C20-A692-B18B66411399}" dt="2021-06-24T11:39:02.493" v="83" actId="1076"/>
          <ac:spMkLst>
            <pc:docMk/>
            <pc:sldMk cId="1495152177" sldId="298"/>
            <ac:spMk id="6" creationId="{0EEE4EA3-E16E-424B-97F9-53A8F5D585AE}"/>
          </ac:spMkLst>
        </pc:spChg>
        <pc:spChg chg="mod">
          <ac:chgData name="Meyer Raphael (PAR-ES)" userId="79615dfe-ed48-4e74-a40f-4f7b034c1c27" providerId="ADAL" clId="{9E6DBD48-31D1-4C20-A692-B18B66411399}" dt="2021-06-24T11:37:40.037" v="82" actId="1038"/>
          <ac:spMkLst>
            <pc:docMk/>
            <pc:sldMk cId="1495152177" sldId="298"/>
            <ac:spMk id="12" creationId="{970D2C07-63A2-4265-B006-56F685FE80A5}"/>
          </ac:spMkLst>
        </pc:spChg>
        <pc:spChg chg="mod">
          <ac:chgData name="Meyer Raphael (PAR-ES)" userId="79615dfe-ed48-4e74-a40f-4f7b034c1c27" providerId="ADAL" clId="{9E6DBD48-31D1-4C20-A692-B18B66411399}" dt="2021-06-24T11:37:40.037" v="82" actId="1038"/>
          <ac:spMkLst>
            <pc:docMk/>
            <pc:sldMk cId="1495152177" sldId="298"/>
            <ac:spMk id="13" creationId="{93412675-62AA-41D8-997C-4E877ED953A8}"/>
          </ac:spMkLst>
        </pc:spChg>
        <pc:graphicFrameChg chg="modGraphic">
          <ac:chgData name="Meyer Raphael (PAR-ES)" userId="79615dfe-ed48-4e74-a40f-4f7b034c1c27" providerId="ADAL" clId="{9E6DBD48-31D1-4C20-A692-B18B66411399}" dt="2021-06-24T11:32:49.105"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9E6DBD48-31D1-4C20-A692-B18B66411399}" dt="2021-06-24T11:37:40.037" v="82" actId="1038"/>
          <ac:cxnSpMkLst>
            <pc:docMk/>
            <pc:sldMk cId="1495152177" sldId="298"/>
            <ac:cxnSpMk id="8" creationId="{6F3EB9D3-E612-42D9-859B-1905BD876C26}"/>
          </ac:cxnSpMkLst>
        </pc:cxnChg>
      </pc:sldChg>
      <pc:sldChg chg="modSp mod">
        <pc:chgData name="Meyer Raphael (PAR-ES)" userId="79615dfe-ed48-4e74-a40f-4f7b034c1c27" providerId="ADAL" clId="{9E6DBD48-31D1-4C20-A692-B18B66411399}" dt="2021-06-24T11:39:07.740" v="84" actId="1076"/>
        <pc:sldMkLst>
          <pc:docMk/>
          <pc:sldMk cId="3590012689" sldId="365"/>
        </pc:sldMkLst>
        <pc:spChg chg="mod">
          <ac:chgData name="Meyer Raphael (PAR-ES)" userId="79615dfe-ed48-4e74-a40f-4f7b034c1c27" providerId="ADAL" clId="{9E6DBD48-31D1-4C20-A692-B18B66411399}" dt="2021-06-24T11:39:07.740" v="84" actId="1076"/>
          <ac:spMkLst>
            <pc:docMk/>
            <pc:sldMk cId="3590012689" sldId="365"/>
            <ac:spMk id="6" creationId="{0EEE4EA3-E16E-424B-97F9-53A8F5D585AE}"/>
          </ac:spMkLst>
        </pc:spChg>
        <pc:spChg chg="mod">
          <ac:chgData name="Meyer Raphael (PAR-ES)" userId="79615dfe-ed48-4e74-a40f-4f7b034c1c27" providerId="ADAL" clId="{9E6DBD48-31D1-4C20-A692-B18B66411399}" dt="2021-06-24T11:37:26.069" v="64" actId="1037"/>
          <ac:spMkLst>
            <pc:docMk/>
            <pc:sldMk cId="3590012689" sldId="365"/>
            <ac:spMk id="12" creationId="{970D2C07-63A2-4265-B006-56F685FE80A5}"/>
          </ac:spMkLst>
        </pc:spChg>
        <pc:spChg chg="mod">
          <ac:chgData name="Meyer Raphael (PAR-ES)" userId="79615dfe-ed48-4e74-a40f-4f7b034c1c27" providerId="ADAL" clId="{9E6DBD48-31D1-4C20-A692-B18B66411399}" dt="2021-06-24T11:37:26.069" v="64" actId="1037"/>
          <ac:spMkLst>
            <pc:docMk/>
            <pc:sldMk cId="3590012689" sldId="365"/>
            <ac:spMk id="13" creationId="{93412675-62AA-41D8-997C-4E877ED953A8}"/>
          </ac:spMkLst>
        </pc:spChg>
        <pc:graphicFrameChg chg="mod modGraphic">
          <ac:chgData name="Meyer Raphael (PAR-ES)" userId="79615dfe-ed48-4e74-a40f-4f7b034c1c27" providerId="ADAL" clId="{9E6DBD48-31D1-4C20-A692-B18B66411399}" dt="2021-06-24T11:32:42.927" v="19"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9E6DBD48-31D1-4C20-A692-B18B66411399}" dt="2021-06-24T11:37:26.069" v="64" actId="1037"/>
          <ac:cxnSpMkLst>
            <pc:docMk/>
            <pc:sldMk cId="3590012689" sldId="365"/>
            <ac:cxnSpMk id="8" creationId="{6F3EB9D3-E612-42D9-859B-1905BD876C26}"/>
          </ac:cxnSpMkLst>
        </pc:cxnChg>
      </pc:sldChg>
      <pc:sldChg chg="modSp mod">
        <pc:chgData name="Meyer Raphael (PAR-ES)" userId="79615dfe-ed48-4e74-a40f-4f7b034c1c27" providerId="ADAL" clId="{9E6DBD48-31D1-4C20-A692-B18B66411399}" dt="2021-06-24T11:39:14.460" v="85" actId="1076"/>
        <pc:sldMkLst>
          <pc:docMk/>
          <pc:sldMk cId="689864941" sldId="366"/>
        </pc:sldMkLst>
        <pc:spChg chg="mod">
          <ac:chgData name="Meyer Raphael (PAR-ES)" userId="79615dfe-ed48-4e74-a40f-4f7b034c1c27" providerId="ADAL" clId="{9E6DBD48-31D1-4C20-A692-B18B66411399}" dt="2021-06-24T11:39:14.460" v="85" actId="1076"/>
          <ac:spMkLst>
            <pc:docMk/>
            <pc:sldMk cId="689864941" sldId="366"/>
            <ac:spMk id="6" creationId="{0EEE4EA3-E16E-424B-97F9-53A8F5D585AE}"/>
          </ac:spMkLst>
        </pc:spChg>
        <pc:spChg chg="mod">
          <ac:chgData name="Meyer Raphael (PAR-ES)" userId="79615dfe-ed48-4e74-a40f-4f7b034c1c27" providerId="ADAL" clId="{9E6DBD48-31D1-4C20-A692-B18B66411399}" dt="2021-06-24T11:37:11.260" v="48" actId="1037"/>
          <ac:spMkLst>
            <pc:docMk/>
            <pc:sldMk cId="689864941" sldId="366"/>
            <ac:spMk id="12" creationId="{970D2C07-63A2-4265-B006-56F685FE80A5}"/>
          </ac:spMkLst>
        </pc:spChg>
        <pc:spChg chg="mod">
          <ac:chgData name="Meyer Raphael (PAR-ES)" userId="79615dfe-ed48-4e74-a40f-4f7b034c1c27" providerId="ADAL" clId="{9E6DBD48-31D1-4C20-A692-B18B66411399}" dt="2021-06-24T11:37:11.260" v="48" actId="1037"/>
          <ac:spMkLst>
            <pc:docMk/>
            <pc:sldMk cId="689864941" sldId="366"/>
            <ac:spMk id="13" creationId="{93412675-62AA-41D8-997C-4E877ED953A8}"/>
          </ac:spMkLst>
        </pc:spChg>
        <pc:graphicFrameChg chg="mod modGraphic">
          <ac:chgData name="Meyer Raphael (PAR-ES)" userId="79615dfe-ed48-4e74-a40f-4f7b034c1c27" providerId="ADAL" clId="{9E6DBD48-31D1-4C20-A692-B18B66411399}" dt="2021-06-24T11:32:36.817" v="17"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9E6DBD48-31D1-4C20-A692-B18B66411399}" dt="2021-06-24T11:37:11.260" v="48" actId="1037"/>
          <ac:cxnSpMkLst>
            <pc:docMk/>
            <pc:sldMk cId="689864941" sldId="366"/>
            <ac:cxnSpMk id="8" creationId="{6F3EB9D3-E612-42D9-859B-1905BD876C26}"/>
          </ac:cxnSpMkLst>
        </pc:cxnChg>
      </pc:sldChg>
    </pc:docChg>
  </pc:docChgLst>
  <pc:docChgLst>
    <pc:chgData name="Meyer Raphael (PAR-ES)" userId="79615dfe-ed48-4e74-a40f-4f7b034c1c27" providerId="ADAL" clId="{5EE5A7C0-C573-4ECA-9195-43EA16DC6E49}"/>
    <pc:docChg chg="custSel addSld modSld">
      <pc:chgData name="Meyer Raphael (PAR-ES)" userId="79615dfe-ed48-4e74-a40f-4f7b034c1c27" providerId="ADAL" clId="{5EE5A7C0-C573-4ECA-9195-43EA16DC6E49}" dt="2021-05-26T08:44:41.610" v="755" actId="1038"/>
      <pc:docMkLst>
        <pc:docMk/>
      </pc:docMkLst>
      <pc:sldChg chg="mod">
        <pc:chgData name="Meyer Raphael (PAR-ES)" userId="79615dfe-ed48-4e74-a40f-4f7b034c1c27" providerId="ADAL" clId="{5EE5A7C0-C573-4ECA-9195-43EA16DC6E49}" dt="2021-05-26T08:39:13.561" v="105" actId="27918"/>
        <pc:sldMkLst>
          <pc:docMk/>
          <pc:sldMk cId="1495152177" sldId="298"/>
        </pc:sldMkLst>
      </pc:sldChg>
      <pc:sldChg chg="addSp delSp modSp new mod">
        <pc:chgData name="Meyer Raphael (PAR-ES)" userId="79615dfe-ed48-4e74-a40f-4f7b034c1c27" providerId="ADAL" clId="{5EE5A7C0-C573-4ECA-9195-43EA16DC6E49}" dt="2021-05-26T08:44:41.610" v="755" actId="1038"/>
        <pc:sldMkLst>
          <pc:docMk/>
          <pc:sldMk cId="3137099422" sldId="358"/>
        </pc:sldMkLst>
        <pc:spChg chg="mod">
          <ac:chgData name="Meyer Raphael (PAR-ES)" userId="79615dfe-ed48-4e74-a40f-4f7b034c1c27" providerId="ADAL" clId="{5EE5A7C0-C573-4ECA-9195-43EA16DC6E49}" dt="2021-05-26T08:37:52.665" v="103" actId="20577"/>
          <ac:spMkLst>
            <pc:docMk/>
            <pc:sldMk cId="3137099422" sldId="358"/>
            <ac:spMk id="2" creationId="{72711E6E-1416-465E-9A46-D62B6B2FD2A4}"/>
          </ac:spMkLst>
        </pc:spChg>
        <pc:spChg chg="del">
          <ac:chgData name="Meyer Raphael (PAR-ES)" userId="79615dfe-ed48-4e74-a40f-4f7b034c1c27" providerId="ADAL" clId="{5EE5A7C0-C573-4ECA-9195-43EA16DC6E49}" dt="2021-05-26T08:36:42.973" v="1" actId="478"/>
          <ac:spMkLst>
            <pc:docMk/>
            <pc:sldMk cId="3137099422" sldId="358"/>
            <ac:spMk id="4" creationId="{1CF7CC40-4689-4113-A1DE-5C9D701740EA}"/>
          </ac:spMkLst>
        </pc:spChg>
        <pc:spChg chg="add del mod">
          <ac:chgData name="Meyer Raphael (PAR-ES)" userId="79615dfe-ed48-4e74-a40f-4f7b034c1c27" providerId="ADAL" clId="{5EE5A7C0-C573-4ECA-9195-43EA16DC6E49}" dt="2021-05-26T08:41:44.447" v="515" actId="478"/>
          <ac:spMkLst>
            <pc:docMk/>
            <pc:sldMk cId="3137099422" sldId="358"/>
            <ac:spMk id="8" creationId="{58A1CE47-EA5C-4370-8726-76A3370213A0}"/>
          </ac:spMkLst>
        </pc:spChg>
        <pc:spChg chg="add mod">
          <ac:chgData name="Meyer Raphael (PAR-ES)" userId="79615dfe-ed48-4e74-a40f-4f7b034c1c27" providerId="ADAL" clId="{5EE5A7C0-C573-4ECA-9195-43EA16DC6E49}" dt="2021-05-26T08:44:41.610" v="755" actId="1038"/>
          <ac:spMkLst>
            <pc:docMk/>
            <pc:sldMk cId="3137099422" sldId="358"/>
            <ac:spMk id="9" creationId="{42AA12ED-4579-4FE5-A07A-BC01B76928FB}"/>
          </ac:spMkLst>
        </pc:spChg>
        <pc:spChg chg="add mod">
          <ac:chgData name="Meyer Raphael (PAR-ES)" userId="79615dfe-ed48-4e74-a40f-4f7b034c1c27" providerId="ADAL" clId="{5EE5A7C0-C573-4ECA-9195-43EA16DC6E49}" dt="2021-05-26T08:41:40.081" v="514" actId="1037"/>
          <ac:spMkLst>
            <pc:docMk/>
            <pc:sldMk cId="3137099422" sldId="358"/>
            <ac:spMk id="12" creationId="{4DA2B71E-2CC2-4C38-BAAB-A71345A07B83}"/>
          </ac:spMkLst>
        </pc:spChg>
        <pc:spChg chg="add mod">
          <ac:chgData name="Meyer Raphael (PAR-ES)" userId="79615dfe-ed48-4e74-a40f-4f7b034c1c27" providerId="ADAL" clId="{5EE5A7C0-C573-4ECA-9195-43EA16DC6E49}" dt="2021-05-26T08:41:13.405" v="409" actId="20577"/>
          <ac:spMkLst>
            <pc:docMk/>
            <pc:sldMk cId="3137099422" sldId="358"/>
            <ac:spMk id="13" creationId="{B946C02A-50DE-42C7-A209-D603829BA4B1}"/>
          </ac:spMkLst>
        </pc:spChg>
        <pc:graphicFrameChg chg="add mod">
          <ac:chgData name="Meyer Raphael (PAR-ES)" userId="79615dfe-ed48-4e74-a40f-4f7b034c1c27" providerId="ADAL" clId="{5EE5A7C0-C573-4ECA-9195-43EA16DC6E49}" dt="2021-05-26T08:37:08.839" v="16"/>
          <ac:graphicFrameMkLst>
            <pc:docMk/>
            <pc:sldMk cId="3137099422" sldId="358"/>
            <ac:graphicFrameMk id="5" creationId="{41AC7E07-D231-4F46-96CB-39403670D77F}"/>
          </ac:graphicFrameMkLst>
        </pc:graphicFrameChg>
        <pc:graphicFrameChg chg="add mod">
          <ac:chgData name="Meyer Raphael (PAR-ES)" userId="79615dfe-ed48-4e74-a40f-4f7b034c1c27" providerId="ADAL" clId="{5EE5A7C0-C573-4ECA-9195-43EA16DC6E49}" dt="2021-05-26T08:42:55.557" v="521"/>
          <ac:graphicFrameMkLst>
            <pc:docMk/>
            <pc:sldMk cId="3137099422" sldId="358"/>
            <ac:graphicFrameMk id="14" creationId="{41AC7E07-D231-4F46-96CB-39403670D77F}"/>
          </ac:graphicFrameMkLst>
        </pc:graphicFrameChg>
        <pc:picChg chg="add del mod">
          <ac:chgData name="Meyer Raphael (PAR-ES)" userId="79615dfe-ed48-4e74-a40f-4f7b034c1c27" providerId="ADAL" clId="{5EE5A7C0-C573-4ECA-9195-43EA16DC6E49}" dt="2021-05-26T08:42:47.763" v="516" actId="478"/>
          <ac:picMkLst>
            <pc:docMk/>
            <pc:sldMk cId="3137099422" sldId="358"/>
            <ac:picMk id="6" creationId="{4C1C2F28-32E3-43E7-8010-354E8EDFC1EA}"/>
          </ac:picMkLst>
        </pc:picChg>
        <pc:picChg chg="add mod ord">
          <ac:chgData name="Meyer Raphael (PAR-ES)" userId="79615dfe-ed48-4e74-a40f-4f7b034c1c27" providerId="ADAL" clId="{5EE5A7C0-C573-4ECA-9195-43EA16DC6E49}" dt="2021-05-26T08:44:30.116" v="748" actId="1037"/>
          <ac:picMkLst>
            <pc:docMk/>
            <pc:sldMk cId="3137099422" sldId="358"/>
            <ac:picMk id="15" creationId="{55BD0271-4DD3-43E3-A3B9-E8F00535D21A}"/>
          </ac:picMkLst>
        </pc:picChg>
        <pc:cxnChg chg="add mod">
          <ac:chgData name="Meyer Raphael (PAR-ES)" userId="79615dfe-ed48-4e74-a40f-4f7b034c1c27" providerId="ADAL" clId="{5EE5A7C0-C573-4ECA-9195-43EA16DC6E49}" dt="2021-05-26T08:44:41.610" v="755" actId="1038"/>
          <ac:cxnSpMkLst>
            <pc:docMk/>
            <pc:sldMk cId="3137099422" sldId="358"/>
            <ac:cxnSpMk id="7" creationId="{D77902D2-9169-4095-AF09-B1A9DB2A7B74}"/>
          </ac:cxnSpMkLst>
        </pc:cxnChg>
        <pc:cxnChg chg="add mod">
          <ac:chgData name="Meyer Raphael (PAR-ES)" userId="79615dfe-ed48-4e74-a40f-4f7b034c1c27" providerId="ADAL" clId="{5EE5A7C0-C573-4ECA-9195-43EA16DC6E49}" dt="2021-05-26T08:41:08.261" v="407" actId="1035"/>
          <ac:cxnSpMkLst>
            <pc:docMk/>
            <pc:sldMk cId="3137099422" sldId="358"/>
            <ac:cxnSpMk id="11" creationId="{A9B79FFE-7EB4-42F9-AF46-169C3E5C72D5}"/>
          </ac:cxnSpMkLst>
        </pc:cxnChg>
      </pc:sldChg>
    </pc:docChg>
  </pc:docChgLst>
  <pc:docChgLst>
    <pc:chgData name="Meyer Raphael (PAR-ES)" userId="79615dfe-ed48-4e74-a40f-4f7b034c1c27" providerId="ADAL" clId="{66C4A0EA-2388-4B74-96B0-FDC2F7AF02B2}"/>
    <pc:docChg chg="custSel addSld delSld modSld sldOrd">
      <pc:chgData name="Meyer Raphael (PAR-ES)" userId="79615dfe-ed48-4e74-a40f-4f7b034c1c27" providerId="ADAL" clId="{66C4A0EA-2388-4B74-96B0-FDC2F7AF02B2}" dt="2022-03-09T16:23:27.109" v="55" actId="27918"/>
      <pc:docMkLst>
        <pc:docMk/>
      </pc:docMkLst>
      <pc:sldChg chg="del">
        <pc:chgData name="Meyer Raphael (PAR-ES)" userId="79615dfe-ed48-4e74-a40f-4f7b034c1c27" providerId="ADAL" clId="{66C4A0EA-2388-4B74-96B0-FDC2F7AF02B2}" dt="2022-03-09T16:15:51.523" v="0" actId="47"/>
        <pc:sldMkLst>
          <pc:docMk/>
          <pc:sldMk cId="1774855510" sldId="414"/>
        </pc:sldMkLst>
      </pc:sldChg>
      <pc:sldChg chg="mod">
        <pc:chgData name="Meyer Raphael (PAR-ES)" userId="79615dfe-ed48-4e74-a40f-4f7b034c1c27" providerId="ADAL" clId="{66C4A0EA-2388-4B74-96B0-FDC2F7AF02B2}" dt="2022-03-09T16:18:35.148" v="24" actId="27918"/>
        <pc:sldMkLst>
          <pc:docMk/>
          <pc:sldMk cId="3865012081" sldId="415"/>
        </pc:sldMkLst>
      </pc:sldChg>
      <pc:sldChg chg="modSp add mod ord">
        <pc:chgData name="Meyer Raphael (PAR-ES)" userId="79615dfe-ed48-4e74-a40f-4f7b034c1c27" providerId="ADAL" clId="{66C4A0EA-2388-4B74-96B0-FDC2F7AF02B2}" dt="2022-03-09T16:18:54.115" v="29"/>
        <pc:sldMkLst>
          <pc:docMk/>
          <pc:sldMk cId="2868978950" sldId="416"/>
        </pc:sldMkLst>
        <pc:spChg chg="mod">
          <ac:chgData name="Meyer Raphael (PAR-ES)" userId="79615dfe-ed48-4e74-a40f-4f7b034c1c27" providerId="ADAL" clId="{66C4A0EA-2388-4B74-96B0-FDC2F7AF02B2}" dt="2022-03-09T16:16:26.111" v="4"/>
          <ac:spMkLst>
            <pc:docMk/>
            <pc:sldMk cId="2868978950" sldId="416"/>
            <ac:spMk id="10" creationId="{A572A723-7466-42C5-BC49-15C6E380BE11}"/>
          </ac:spMkLst>
        </pc:spChg>
        <pc:spChg chg="mod">
          <ac:chgData name="Meyer Raphael (PAR-ES)" userId="79615dfe-ed48-4e74-a40f-4f7b034c1c27" providerId="ADAL" clId="{66C4A0EA-2388-4B74-96B0-FDC2F7AF02B2}" dt="2022-03-09T16:16:51.514" v="5"/>
          <ac:spMkLst>
            <pc:docMk/>
            <pc:sldMk cId="2868978950" sldId="416"/>
            <ac:spMk id="11" creationId="{45495507-A500-4876-A7D7-039B7559AD0C}"/>
          </ac:spMkLst>
        </pc:spChg>
      </pc:sldChg>
      <pc:sldChg chg="modSp add mod">
        <pc:chgData name="Meyer Raphael (PAR-ES)" userId="79615dfe-ed48-4e74-a40f-4f7b034c1c27" providerId="ADAL" clId="{66C4A0EA-2388-4B74-96B0-FDC2F7AF02B2}" dt="2022-03-09T16:21:27.322" v="42" actId="27918"/>
        <pc:sldMkLst>
          <pc:docMk/>
          <pc:sldMk cId="976233813" sldId="417"/>
        </pc:sldMkLst>
        <pc:spChg chg="mod">
          <ac:chgData name="Meyer Raphael (PAR-ES)" userId="79615dfe-ed48-4e74-a40f-4f7b034c1c27" providerId="ADAL" clId="{66C4A0EA-2388-4B74-96B0-FDC2F7AF02B2}" dt="2022-03-09T16:19:41.464" v="30"/>
          <ac:spMkLst>
            <pc:docMk/>
            <pc:sldMk cId="976233813" sldId="417"/>
            <ac:spMk id="10" creationId="{A572A723-7466-42C5-BC49-15C6E380BE11}"/>
          </ac:spMkLst>
        </pc:spChg>
        <pc:spChg chg="mod">
          <ac:chgData name="Meyer Raphael (PAR-ES)" userId="79615dfe-ed48-4e74-a40f-4f7b034c1c27" providerId="ADAL" clId="{66C4A0EA-2388-4B74-96B0-FDC2F7AF02B2}" dt="2022-03-09T16:20:01.271" v="31"/>
          <ac:spMkLst>
            <pc:docMk/>
            <pc:sldMk cId="976233813" sldId="417"/>
            <ac:spMk id="11" creationId="{45495507-A500-4876-A7D7-039B7559AD0C}"/>
          </ac:spMkLst>
        </pc:spChg>
        <pc:spChg chg="mod">
          <ac:chgData name="Meyer Raphael (PAR-ES)" userId="79615dfe-ed48-4e74-a40f-4f7b034c1c27" providerId="ADAL" clId="{66C4A0EA-2388-4B74-96B0-FDC2F7AF02B2}" dt="2022-03-09T16:21:05.488" v="37" actId="20577"/>
          <ac:spMkLst>
            <pc:docMk/>
            <pc:sldMk cId="976233813" sldId="417"/>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3015967454" sldId="417"/>
        </pc:sldMkLst>
      </pc:sldChg>
      <pc:sldChg chg="modSp add mod">
        <pc:chgData name="Meyer Raphael (PAR-ES)" userId="79615dfe-ed48-4e74-a40f-4f7b034c1c27" providerId="ADAL" clId="{66C4A0EA-2388-4B74-96B0-FDC2F7AF02B2}" dt="2022-03-09T16:23:27.109" v="55" actId="27918"/>
        <pc:sldMkLst>
          <pc:docMk/>
          <pc:sldMk cId="407174717" sldId="418"/>
        </pc:sldMkLst>
        <pc:spChg chg="mod">
          <ac:chgData name="Meyer Raphael (PAR-ES)" userId="79615dfe-ed48-4e74-a40f-4f7b034c1c27" providerId="ADAL" clId="{66C4A0EA-2388-4B74-96B0-FDC2F7AF02B2}" dt="2022-03-09T16:22:17.056" v="43"/>
          <ac:spMkLst>
            <pc:docMk/>
            <pc:sldMk cId="407174717" sldId="418"/>
            <ac:spMk id="10" creationId="{A572A723-7466-42C5-BC49-15C6E380BE11}"/>
          </ac:spMkLst>
        </pc:spChg>
        <pc:spChg chg="mod">
          <ac:chgData name="Meyer Raphael (PAR-ES)" userId="79615dfe-ed48-4e74-a40f-4f7b034c1c27" providerId="ADAL" clId="{66C4A0EA-2388-4B74-96B0-FDC2F7AF02B2}" dt="2022-03-09T16:22:37.624" v="44"/>
          <ac:spMkLst>
            <pc:docMk/>
            <pc:sldMk cId="407174717" sldId="418"/>
            <ac:spMk id="11" creationId="{45495507-A500-4876-A7D7-039B7559AD0C}"/>
          </ac:spMkLst>
        </pc:spChg>
        <pc:spChg chg="mod">
          <ac:chgData name="Meyer Raphael (PAR-ES)" userId="79615dfe-ed48-4e74-a40f-4f7b034c1c27" providerId="ADAL" clId="{66C4A0EA-2388-4B74-96B0-FDC2F7AF02B2}" dt="2022-03-09T16:22:41.606" v="50" actId="20577"/>
          <ac:spMkLst>
            <pc:docMk/>
            <pc:sldMk cId="407174717" sldId="418"/>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2492649957" sldId="418"/>
        </pc:sldMkLst>
      </pc:sldChg>
    </pc:docChg>
  </pc:docChgLst>
  <pc:docChgLst>
    <pc:chgData name="Meyer Raphael (PAR-ES)" userId="79615dfe-ed48-4e74-a40f-4f7b034c1c27" providerId="ADAL" clId="{AD707207-28DB-44DB-BFE3-BB16A1A03D6C}"/>
    <pc:docChg chg="addSld delSld modSld">
      <pc:chgData name="Meyer Raphael (PAR-ES)" userId="79615dfe-ed48-4e74-a40f-4f7b034c1c27" providerId="ADAL" clId="{AD707207-28DB-44DB-BFE3-BB16A1A03D6C}" dt="2021-11-08T12:03:59.863" v="4" actId="47"/>
      <pc:docMkLst>
        <pc:docMk/>
      </pc:docMkLst>
      <pc:sldChg chg="del">
        <pc:chgData name="Meyer Raphael (PAR-ES)" userId="79615dfe-ed48-4e74-a40f-4f7b034c1c27" providerId="ADAL" clId="{AD707207-28DB-44DB-BFE3-BB16A1A03D6C}" dt="2021-11-08T12:03:59.863" v="4" actId="47"/>
        <pc:sldMkLst>
          <pc:docMk/>
          <pc:sldMk cId="3808035539" sldId="270"/>
        </pc:sldMkLst>
      </pc:sldChg>
      <pc:sldChg chg="add">
        <pc:chgData name="Meyer Raphael (PAR-ES)" userId="79615dfe-ed48-4e74-a40f-4f7b034c1c27" providerId="ADAL" clId="{AD707207-28DB-44DB-BFE3-BB16A1A03D6C}" dt="2021-11-08T11:51:36.065" v="0" actId="2890"/>
        <pc:sldMkLst>
          <pc:docMk/>
          <pc:sldMk cId="2641487227" sldId="271"/>
        </pc:sldMkLst>
      </pc:sldChg>
      <pc:sldChg chg="addSp modSp new del">
        <pc:chgData name="Meyer Raphael (PAR-ES)" userId="79615dfe-ed48-4e74-a40f-4f7b034c1c27" providerId="ADAL" clId="{AD707207-28DB-44DB-BFE3-BB16A1A03D6C}" dt="2021-11-08T12:03:52.132" v="3" actId="47"/>
        <pc:sldMkLst>
          <pc:docMk/>
          <pc:sldMk cId="934294936" sldId="272"/>
        </pc:sldMkLst>
        <pc:graphicFrameChg chg="add mod">
          <ac:chgData name="Meyer Raphael (PAR-ES)" userId="79615dfe-ed48-4e74-a40f-4f7b034c1c27" providerId="ADAL" clId="{AD707207-28DB-44DB-BFE3-BB16A1A03D6C}" dt="2021-11-08T12:03:44.764" v="2"/>
          <ac:graphicFrameMkLst>
            <pc:docMk/>
            <pc:sldMk cId="934294936" sldId="272"/>
            <ac:graphicFrameMk id="6" creationId="{C4C775E3-3FF9-42C2-9363-3ECDA4A2A7C5}"/>
          </ac:graphicFrameMkLst>
        </pc:graphicFrameChg>
      </pc:sldChg>
    </pc:docChg>
  </pc:docChgLst>
  <pc:docChgLst>
    <pc:chgData name="Meyer Raphael (PAR-ES)" userId="79615dfe-ed48-4e74-a40f-4f7b034c1c27" providerId="ADAL" clId="{604C7573-E99D-4734-9F02-8AA094A0E7FB}"/>
    <pc:docChg chg="undo custSel addSld modSld sldOrd">
      <pc:chgData name="Meyer Raphael (PAR-ES)" userId="79615dfe-ed48-4e74-a40f-4f7b034c1c27" providerId="ADAL" clId="{604C7573-E99D-4734-9F02-8AA094A0E7FB}" dt="2021-09-15T13:50:11.898" v="247" actId="1037"/>
      <pc:docMkLst>
        <pc:docMk/>
      </pc:docMkLst>
      <pc:sldChg chg="ord">
        <pc:chgData name="Meyer Raphael (PAR-ES)" userId="79615dfe-ed48-4e74-a40f-4f7b034c1c27" providerId="ADAL" clId="{604C7573-E99D-4734-9F02-8AA094A0E7FB}" dt="2021-09-15T12:33:07.419" v="1"/>
        <pc:sldMkLst>
          <pc:docMk/>
          <pc:sldMk cId="277025245" sldId="325"/>
        </pc:sldMkLst>
      </pc:sldChg>
      <pc:sldChg chg="addSp delSp modSp mod">
        <pc:chgData name="Meyer Raphael (PAR-ES)" userId="79615dfe-ed48-4e74-a40f-4f7b034c1c27" providerId="ADAL" clId="{604C7573-E99D-4734-9F02-8AA094A0E7FB}" dt="2021-09-15T12:58:20.808" v="184" actId="21"/>
        <pc:sldMkLst>
          <pc:docMk/>
          <pc:sldMk cId="689864941" sldId="366"/>
        </pc:sldMkLst>
        <pc:cxnChg chg="add del mod">
          <ac:chgData name="Meyer Raphael (PAR-ES)" userId="79615dfe-ed48-4e74-a40f-4f7b034c1c27" providerId="ADAL" clId="{604C7573-E99D-4734-9F02-8AA094A0E7FB}" dt="2021-09-15T12:56:42.440" v="176" actId="21"/>
          <ac:cxnSpMkLst>
            <pc:docMk/>
            <pc:sldMk cId="689864941" sldId="366"/>
            <ac:cxnSpMk id="11" creationId="{4176DA4F-7562-404E-8889-9AB0869064CC}"/>
          </ac:cxnSpMkLst>
        </pc:cxnChg>
        <pc:cxnChg chg="add del mod">
          <ac:chgData name="Meyer Raphael (PAR-ES)" userId="79615dfe-ed48-4e74-a40f-4f7b034c1c27" providerId="ADAL" clId="{604C7573-E99D-4734-9F02-8AA094A0E7FB}" dt="2021-09-15T12:58:20.808" v="184" actId="21"/>
          <ac:cxnSpMkLst>
            <pc:docMk/>
            <pc:sldMk cId="689864941" sldId="366"/>
            <ac:cxnSpMk id="14" creationId="{0F62341E-47D1-4FC0-8B25-F01CAE3A0A5A}"/>
          </ac:cxnSpMkLst>
        </pc:cxnChg>
      </pc:sldChg>
      <pc:sldChg chg="addSp delSp modSp add mod ord">
        <pc:chgData name="Meyer Raphael (PAR-ES)" userId="79615dfe-ed48-4e74-a40f-4f7b034c1c27" providerId="ADAL" clId="{604C7573-E99D-4734-9F02-8AA094A0E7FB}" dt="2021-09-15T13:50:11.898" v="247" actId="1037"/>
        <pc:sldMkLst>
          <pc:docMk/>
          <pc:sldMk cId="2029197701" sldId="367"/>
        </pc:sldMkLst>
        <pc:spChg chg="mod">
          <ac:chgData name="Meyer Raphael (PAR-ES)" userId="79615dfe-ed48-4e74-a40f-4f7b034c1c27" providerId="ADAL" clId="{604C7573-E99D-4734-9F02-8AA094A0E7FB}" dt="2021-09-15T12:52:12.602" v="31" actId="6549"/>
          <ac:spMkLst>
            <pc:docMk/>
            <pc:sldMk cId="2029197701" sldId="367"/>
            <ac:spMk id="2" creationId="{A2DC317F-F1F4-4624-8FC1-3B68C1DBB3DA}"/>
          </ac:spMkLst>
        </pc:spChg>
        <pc:spChg chg="mod">
          <ac:chgData name="Meyer Raphael (PAR-ES)" userId="79615dfe-ed48-4e74-a40f-4f7b034c1c27" providerId="ADAL" clId="{604C7573-E99D-4734-9F02-8AA094A0E7FB}" dt="2021-09-15T12:59:18.558" v="190" actId="1076"/>
          <ac:spMkLst>
            <pc:docMk/>
            <pc:sldMk cId="2029197701" sldId="367"/>
            <ac:spMk id="6" creationId="{0EEE4EA3-E16E-424B-97F9-53A8F5D585AE}"/>
          </ac:spMkLst>
        </pc:spChg>
        <pc:spChg chg="del mod">
          <ac:chgData name="Meyer Raphael (PAR-ES)" userId="79615dfe-ed48-4e74-a40f-4f7b034c1c27" providerId="ADAL" clId="{604C7573-E99D-4734-9F02-8AA094A0E7FB}" dt="2021-09-15T12:53:10.332" v="36" actId="478"/>
          <ac:spMkLst>
            <pc:docMk/>
            <pc:sldMk cId="2029197701" sldId="367"/>
            <ac:spMk id="7" creationId="{51421822-C303-4FC2-BF5E-F4377E568635}"/>
          </ac:spMkLst>
        </pc:spChg>
        <pc:spChg chg="add del mod">
          <ac:chgData name="Meyer Raphael (PAR-ES)" userId="79615dfe-ed48-4e74-a40f-4f7b034c1c27" providerId="ADAL" clId="{604C7573-E99D-4734-9F02-8AA094A0E7FB}" dt="2021-09-15T12:58:51.024" v="187" actId="478"/>
          <ac:spMkLst>
            <pc:docMk/>
            <pc:sldMk cId="2029197701" sldId="367"/>
            <ac:spMk id="9" creationId="{D998D4EE-347D-491E-A955-8C3A7DCD2FB7}"/>
          </ac:spMkLst>
        </pc:spChg>
        <pc:spChg chg="add mod">
          <ac:chgData name="Meyer Raphael (PAR-ES)" userId="79615dfe-ed48-4e74-a40f-4f7b034c1c27" providerId="ADAL" clId="{604C7573-E99D-4734-9F02-8AA094A0E7FB}" dt="2021-09-15T13:50:11.898" v="247" actId="1037"/>
          <ac:spMkLst>
            <pc:docMk/>
            <pc:sldMk cId="2029197701" sldId="367"/>
            <ac:spMk id="12" creationId="{CCAD2928-2677-455E-9AD8-E0C7482EEB5F}"/>
          </ac:spMkLst>
        </pc:spChg>
        <pc:spChg chg="add mod">
          <ac:chgData name="Meyer Raphael (PAR-ES)" userId="79615dfe-ed48-4e74-a40f-4f7b034c1c27" providerId="ADAL" clId="{604C7573-E99D-4734-9F02-8AA094A0E7FB}" dt="2021-09-15T13:50:11.898" v="247" actId="1037"/>
          <ac:spMkLst>
            <pc:docMk/>
            <pc:sldMk cId="2029197701" sldId="367"/>
            <ac:spMk id="13" creationId="{FC7E6A41-4BB4-434A-A8BA-48990602A5EE}"/>
          </ac:spMkLst>
        </pc:spChg>
        <pc:spChg chg="del">
          <ac:chgData name="Meyer Raphael (PAR-ES)" userId="79615dfe-ed48-4e74-a40f-4f7b034c1c27" providerId="ADAL" clId="{604C7573-E99D-4734-9F02-8AA094A0E7FB}" dt="2021-09-15T12:45:08.761" v="8" actId="478"/>
          <ac:spMkLst>
            <pc:docMk/>
            <pc:sldMk cId="2029197701" sldId="367"/>
            <ac:spMk id="15" creationId="{CC1F0CCA-7B55-41F9-A1FF-769ED7C753BD}"/>
          </ac:spMkLst>
        </pc:spChg>
        <pc:spChg chg="add mod">
          <ac:chgData name="Meyer Raphael (PAR-ES)" userId="79615dfe-ed48-4e74-a40f-4f7b034c1c27" providerId="ADAL" clId="{604C7573-E99D-4734-9F02-8AA094A0E7FB}" dt="2021-09-15T12:59:01.215" v="188"/>
          <ac:spMkLst>
            <pc:docMk/>
            <pc:sldMk cId="2029197701" sldId="367"/>
            <ac:spMk id="17" creationId="{3E356E17-F4BA-401D-BB33-6300C254C959}"/>
          </ac:spMkLst>
        </pc:spChg>
        <pc:graphicFrameChg chg="mod">
          <ac:chgData name="Meyer Raphael (PAR-ES)" userId="79615dfe-ed48-4e74-a40f-4f7b034c1c27" providerId="ADAL" clId="{604C7573-E99D-4734-9F02-8AA094A0E7FB}" dt="2021-09-15T13:48:26.480" v="241" actId="1076"/>
          <ac:graphicFrameMkLst>
            <pc:docMk/>
            <pc:sldMk cId="2029197701" sldId="367"/>
            <ac:graphicFrameMk id="5" creationId="{4CF6AB8B-CAB9-4C7E-8E59-E00357A4D7F0}"/>
          </ac:graphicFrameMkLst>
        </pc:graphicFrameChg>
        <pc:cxnChg chg="add mod">
          <ac:chgData name="Meyer Raphael (PAR-ES)" userId="79615dfe-ed48-4e74-a40f-4f7b034c1c27" providerId="ADAL" clId="{604C7573-E99D-4734-9F02-8AA094A0E7FB}" dt="2021-09-15T13:50:11.898" v="247" actId="1037"/>
          <ac:cxnSpMkLst>
            <pc:docMk/>
            <pc:sldMk cId="2029197701" sldId="367"/>
            <ac:cxnSpMk id="11" creationId="{61A01D27-79D8-4D0E-AC84-EDE76E7AF0DF}"/>
          </ac:cxnSpMkLst>
        </pc:cxnChg>
        <pc:cxnChg chg="add del mod">
          <ac:chgData name="Meyer Raphael (PAR-ES)" userId="79615dfe-ed48-4e74-a40f-4f7b034c1c27" providerId="ADAL" clId="{604C7573-E99D-4734-9F02-8AA094A0E7FB}" dt="2021-09-15T12:57:59.416" v="179" actId="21"/>
          <ac:cxnSpMkLst>
            <pc:docMk/>
            <pc:sldMk cId="2029197701" sldId="367"/>
            <ac:cxnSpMk id="14" creationId="{18A46E03-042B-4930-AF10-65BD514A3D22}"/>
          </ac:cxnSpMkLst>
        </pc:cxnChg>
        <pc:cxnChg chg="add del mod">
          <ac:chgData name="Meyer Raphael (PAR-ES)" userId="79615dfe-ed48-4e74-a40f-4f7b034c1c27" providerId="ADAL" clId="{604C7573-E99D-4734-9F02-8AA094A0E7FB}" dt="2021-09-15T12:58:26.768" v="186" actId="478"/>
          <ac:cxnSpMkLst>
            <pc:docMk/>
            <pc:sldMk cId="2029197701" sldId="367"/>
            <ac:cxnSpMk id="16" creationId="{A84CD970-FF7E-44EA-8127-506E0BA9215A}"/>
          </ac:cxnSpMkLst>
        </pc:cxnChg>
      </pc:sldChg>
    </pc:docChg>
  </pc:docChgLst>
  <pc:docChgLst>
    <pc:chgData name="Meyer Raphael (PAR-ES)" userId="79615dfe-ed48-4e74-a40f-4f7b034c1c27" providerId="ADAL" clId="{C5BC34D6-6441-48E7-88C4-E6F3F437ED46}"/>
    <pc:docChg chg="custSel addSld delSld modSld sldOrd">
      <pc:chgData name="Meyer Raphael (PAR-ES)" userId="79615dfe-ed48-4e74-a40f-4f7b034c1c27" providerId="ADAL" clId="{C5BC34D6-6441-48E7-88C4-E6F3F437ED46}" dt="2021-03-11T09:10:51.538" v="87" actId="2696"/>
      <pc:docMkLst>
        <pc:docMk/>
      </pc:docMkLst>
      <pc:sldChg chg="modSp mod">
        <pc:chgData name="Meyer Raphael (PAR-ES)" userId="79615dfe-ed48-4e74-a40f-4f7b034c1c27" providerId="ADAL" clId="{C5BC34D6-6441-48E7-88C4-E6F3F437ED46}" dt="2021-03-11T09:07:31.799" v="66" actId="1076"/>
        <pc:sldMkLst>
          <pc:docMk/>
          <pc:sldMk cId="1667945532" sldId="306"/>
        </pc:sldMkLst>
        <pc:spChg chg="mod">
          <ac:chgData name="Meyer Raphael (PAR-ES)" userId="79615dfe-ed48-4e74-a40f-4f7b034c1c27" providerId="ADAL" clId="{C5BC34D6-6441-48E7-88C4-E6F3F437ED46}" dt="2021-03-11T09:02:10.785" v="1" actId="20577"/>
          <ac:spMkLst>
            <pc:docMk/>
            <pc:sldMk cId="1667945532" sldId="306"/>
            <ac:spMk id="8" creationId="{5857C2A1-2CB8-4D4A-AEFD-E809BF73D04F}"/>
          </ac:spMkLst>
        </pc:spChg>
        <pc:spChg chg="mod">
          <ac:chgData name="Meyer Raphael (PAR-ES)" userId="79615dfe-ed48-4e74-a40f-4f7b034c1c27" providerId="ADAL" clId="{C5BC34D6-6441-48E7-88C4-E6F3F437ED46}" dt="2021-03-11T09:02:32.327" v="13" actId="20577"/>
          <ac:spMkLst>
            <pc:docMk/>
            <pc:sldMk cId="1667945532" sldId="306"/>
            <ac:spMk id="27" creationId="{46A6B042-39EE-4A58-BBAA-13D52264B660}"/>
          </ac:spMkLst>
        </pc:spChg>
        <pc:spChg chg="mod">
          <ac:chgData name="Meyer Raphael (PAR-ES)" userId="79615dfe-ed48-4e74-a40f-4f7b034c1c27" providerId="ADAL" clId="{C5BC34D6-6441-48E7-88C4-E6F3F437ED46}" dt="2021-03-11T09:07:31.799" v="66" actId="1076"/>
          <ac:spMkLst>
            <pc:docMk/>
            <pc:sldMk cId="1667945532" sldId="306"/>
            <ac:spMk id="28" creationId="{4492A3CD-6943-423D-BFEC-8129889E8B6F}"/>
          </ac:spMkLst>
        </pc:spChg>
        <pc:spChg chg="mod">
          <ac:chgData name="Meyer Raphael (PAR-ES)" userId="79615dfe-ed48-4e74-a40f-4f7b034c1c27" providerId="ADAL" clId="{C5BC34D6-6441-48E7-88C4-E6F3F437ED46}" dt="2021-03-11T09:02:51.589" v="25" actId="20577"/>
          <ac:spMkLst>
            <pc:docMk/>
            <pc:sldMk cId="1667945532" sldId="306"/>
            <ac:spMk id="31" creationId="{7491A47D-CAD4-478D-8F3A-296FFCB799F9}"/>
          </ac:spMkLst>
        </pc:spChg>
      </pc:sldChg>
      <pc:sldChg chg="del">
        <pc:chgData name="Meyer Raphael (PAR-ES)" userId="79615dfe-ed48-4e74-a40f-4f7b034c1c27" providerId="ADAL" clId="{C5BC34D6-6441-48E7-88C4-E6F3F437ED46}" dt="2021-03-11T09:09:15.794" v="78" actId="2696"/>
        <pc:sldMkLst>
          <pc:docMk/>
          <pc:sldMk cId="1837760195" sldId="334"/>
        </pc:sldMkLst>
      </pc:sldChg>
      <pc:sldChg chg="del">
        <pc:chgData name="Meyer Raphael (PAR-ES)" userId="79615dfe-ed48-4e74-a40f-4f7b034c1c27" providerId="ADAL" clId="{C5BC34D6-6441-48E7-88C4-E6F3F437ED46}" dt="2021-03-11T09:10:51.538" v="87" actId="2696"/>
        <pc:sldMkLst>
          <pc:docMk/>
          <pc:sldMk cId="3853260059" sldId="335"/>
        </pc:sldMkLst>
      </pc:sldChg>
      <pc:sldChg chg="addSp delSp modSp add ord">
        <pc:chgData name="Meyer Raphael (PAR-ES)" userId="79615dfe-ed48-4e74-a40f-4f7b034c1c27" providerId="ADAL" clId="{C5BC34D6-6441-48E7-88C4-E6F3F437ED46}" dt="2021-03-11T09:09:06.381" v="77"/>
        <pc:sldMkLst>
          <pc:docMk/>
          <pc:sldMk cId="3843819818" sldId="336"/>
        </pc:sldMkLst>
        <pc:spChg chg="mod">
          <ac:chgData name="Meyer Raphael (PAR-ES)" userId="79615dfe-ed48-4e74-a40f-4f7b034c1c27" providerId="ADAL" clId="{C5BC34D6-6441-48E7-88C4-E6F3F437ED46}" dt="2021-03-11T09:08:12.975" v="71"/>
          <ac:spMkLst>
            <pc:docMk/>
            <pc:sldMk cId="3843819818" sldId="336"/>
            <ac:spMk id="2" creationId="{A2DC317F-F1F4-4624-8FC1-3B68C1DBB3DA}"/>
          </ac:spMkLst>
        </pc:spChg>
        <pc:spChg chg="del">
          <ac:chgData name="Meyer Raphael (PAR-ES)" userId="79615dfe-ed48-4e74-a40f-4f7b034c1c27" providerId="ADAL" clId="{C5BC34D6-6441-48E7-88C4-E6F3F437ED46}" dt="2021-03-11T09:08:35.578" v="73" actId="478"/>
          <ac:spMkLst>
            <pc:docMk/>
            <pc:sldMk cId="3843819818" sldId="336"/>
            <ac:spMk id="7" creationId="{BA3F9A72-0541-4D1F-8CD8-1C2B8074FA1B}"/>
          </ac:spMkLst>
        </pc:spChg>
        <pc:spChg chg="mod">
          <ac:chgData name="Meyer Raphael (PAR-ES)" userId="79615dfe-ed48-4e74-a40f-4f7b034c1c27" providerId="ADAL" clId="{C5BC34D6-6441-48E7-88C4-E6F3F437ED46}" dt="2021-03-11T09:08:55.739" v="76" actId="14100"/>
          <ac:spMkLst>
            <pc:docMk/>
            <pc:sldMk cId="3843819818" sldId="336"/>
            <ac:spMk id="8" creationId="{5857C2A1-2CB8-4D4A-AEFD-E809BF73D04F}"/>
          </ac:spMkLst>
        </pc:spChg>
        <pc:spChg chg="del">
          <ac:chgData name="Meyer Raphael (PAR-ES)" userId="79615dfe-ed48-4e74-a40f-4f7b034c1c27" providerId="ADAL" clId="{C5BC34D6-6441-48E7-88C4-E6F3F437ED46}" dt="2021-03-11T09:08:35.578" v="73" actId="478"/>
          <ac:spMkLst>
            <pc:docMk/>
            <pc:sldMk cId="3843819818" sldId="336"/>
            <ac:spMk id="9" creationId="{B6990B61-32B2-4ADC-BF01-EDF7B4080F97}"/>
          </ac:spMkLst>
        </pc:spChg>
        <pc:spChg chg="mod">
          <ac:chgData name="Meyer Raphael (PAR-ES)" userId="79615dfe-ed48-4e74-a40f-4f7b034c1c27" providerId="ADAL" clId="{C5BC34D6-6441-48E7-88C4-E6F3F437ED46}" dt="2021-03-11T09:08:21.986" v="72"/>
          <ac:spMkLst>
            <pc:docMk/>
            <pc:sldMk cId="3843819818" sldId="336"/>
            <ac:spMk id="10" creationId="{077DFD58-E5EE-4B68-9325-D935DB04DD40}"/>
          </ac:spMkLst>
        </pc:spChg>
        <pc:spChg chg="del">
          <ac:chgData name="Meyer Raphael (PAR-ES)" userId="79615dfe-ed48-4e74-a40f-4f7b034c1c27" providerId="ADAL" clId="{C5BC34D6-6441-48E7-88C4-E6F3F437ED46}" dt="2021-03-11T09:08:35.578" v="73" actId="478"/>
          <ac:spMkLst>
            <pc:docMk/>
            <pc:sldMk cId="3843819818" sldId="336"/>
            <ac:spMk id="17" creationId="{785E740C-F94A-4208-8DFD-63A603C16577}"/>
          </ac:spMkLst>
        </pc:spChg>
        <pc:spChg chg="add">
          <ac:chgData name="Meyer Raphael (PAR-ES)" userId="79615dfe-ed48-4e74-a40f-4f7b034c1c27" providerId="ADAL" clId="{C5BC34D6-6441-48E7-88C4-E6F3F437ED46}" dt="2021-03-11T09:08:46.965" v="74"/>
          <ac:spMkLst>
            <pc:docMk/>
            <pc:sldMk cId="3843819818" sldId="336"/>
            <ac:spMk id="23" creationId="{AE9E7413-2454-4A46-82BE-74EC408C6252}"/>
          </ac:spMkLst>
        </pc:spChg>
        <pc:spChg chg="del">
          <ac:chgData name="Meyer Raphael (PAR-ES)" userId="79615dfe-ed48-4e74-a40f-4f7b034c1c27" providerId="ADAL" clId="{C5BC34D6-6441-48E7-88C4-E6F3F437ED46}" dt="2021-03-11T09:08:35.578" v="73" actId="478"/>
          <ac:spMkLst>
            <pc:docMk/>
            <pc:sldMk cId="3843819818" sldId="336"/>
            <ac:spMk id="26" creationId="{BFD498B5-D73E-4C8A-9FAF-B3547647538C}"/>
          </ac:spMkLst>
        </pc:spChg>
        <pc:spChg chg="mod">
          <ac:chgData name="Meyer Raphael (PAR-ES)" userId="79615dfe-ed48-4e74-a40f-4f7b034c1c27" providerId="ADAL" clId="{C5BC34D6-6441-48E7-88C4-E6F3F437ED46}" dt="2021-03-11T09:09:06.381" v="77"/>
          <ac:spMkLst>
            <pc:docMk/>
            <pc:sldMk cId="3843819818" sldId="336"/>
            <ac:spMk id="27" creationId="{46A6B042-39EE-4A58-BBAA-13D52264B660}"/>
          </ac:spMkLst>
        </pc:spChg>
        <pc:spChg chg="add">
          <ac:chgData name="Meyer Raphael (PAR-ES)" userId="79615dfe-ed48-4e74-a40f-4f7b034c1c27" providerId="ADAL" clId="{C5BC34D6-6441-48E7-88C4-E6F3F437ED46}" dt="2021-03-11T09:08:46.965" v="74"/>
          <ac:spMkLst>
            <pc:docMk/>
            <pc:sldMk cId="3843819818" sldId="336"/>
            <ac:spMk id="33" creationId="{07D46FBE-86FE-4EED-A0FD-030334E471DF}"/>
          </ac:spMkLst>
        </pc:spChg>
        <pc:spChg chg="add">
          <ac:chgData name="Meyer Raphael (PAR-ES)" userId="79615dfe-ed48-4e74-a40f-4f7b034c1c27" providerId="ADAL" clId="{C5BC34D6-6441-48E7-88C4-E6F3F437ED46}" dt="2021-03-11T09:08:46.965" v="74"/>
          <ac:spMkLst>
            <pc:docMk/>
            <pc:sldMk cId="3843819818" sldId="336"/>
            <ac:spMk id="36" creationId="{25F83E61-F8D7-4E5D-8AA0-48E74949AE42}"/>
          </ac:spMkLst>
        </pc:spChg>
        <pc:spChg chg="add">
          <ac:chgData name="Meyer Raphael (PAR-ES)" userId="79615dfe-ed48-4e74-a40f-4f7b034c1c27" providerId="ADAL" clId="{C5BC34D6-6441-48E7-88C4-E6F3F437ED46}" dt="2021-03-11T09:08:46.965" v="74"/>
          <ac:spMkLst>
            <pc:docMk/>
            <pc:sldMk cId="3843819818" sldId="336"/>
            <ac:spMk id="37" creationId="{29B05930-D423-4A96-9053-1B4A25A9F673}"/>
          </ac:spMkLst>
        </pc:spChg>
      </pc:sldChg>
      <pc:sldChg chg="addSp delSp modSp add ord">
        <pc:chgData name="Meyer Raphael (PAR-ES)" userId="79615dfe-ed48-4e74-a40f-4f7b034c1c27" providerId="ADAL" clId="{C5BC34D6-6441-48E7-88C4-E6F3F437ED46}" dt="2021-03-11T09:10:42.319" v="86" actId="14100"/>
        <pc:sldMkLst>
          <pc:docMk/>
          <pc:sldMk cId="912098357" sldId="337"/>
        </pc:sldMkLst>
        <pc:spChg chg="mod">
          <ac:chgData name="Meyer Raphael (PAR-ES)" userId="79615dfe-ed48-4e74-a40f-4f7b034c1c27" providerId="ADAL" clId="{C5BC34D6-6441-48E7-88C4-E6F3F437ED46}" dt="2021-03-11T09:09:38.714" v="79"/>
          <ac:spMkLst>
            <pc:docMk/>
            <pc:sldMk cId="912098357" sldId="337"/>
            <ac:spMk id="2" creationId="{A2DC317F-F1F4-4624-8FC1-3B68C1DBB3DA}"/>
          </ac:spMkLst>
        </pc:spChg>
        <pc:spChg chg="del">
          <ac:chgData name="Meyer Raphael (PAR-ES)" userId="79615dfe-ed48-4e74-a40f-4f7b034c1c27" providerId="ADAL" clId="{C5BC34D6-6441-48E7-88C4-E6F3F437ED46}" dt="2021-03-11T09:09:59.496" v="81" actId="478"/>
          <ac:spMkLst>
            <pc:docMk/>
            <pc:sldMk cId="912098357" sldId="337"/>
            <ac:spMk id="7" creationId="{BA3F9A72-0541-4D1F-8CD8-1C2B8074FA1B}"/>
          </ac:spMkLst>
        </pc:spChg>
        <pc:spChg chg="mod">
          <ac:chgData name="Meyer Raphael (PAR-ES)" userId="79615dfe-ed48-4e74-a40f-4f7b034c1c27" providerId="ADAL" clId="{C5BC34D6-6441-48E7-88C4-E6F3F437ED46}" dt="2021-03-11T09:10:24.546" v="84" actId="14100"/>
          <ac:spMkLst>
            <pc:docMk/>
            <pc:sldMk cId="912098357" sldId="337"/>
            <ac:spMk id="8" creationId="{5857C2A1-2CB8-4D4A-AEFD-E809BF73D04F}"/>
          </ac:spMkLst>
        </pc:spChg>
        <pc:spChg chg="del">
          <ac:chgData name="Meyer Raphael (PAR-ES)" userId="79615dfe-ed48-4e74-a40f-4f7b034c1c27" providerId="ADAL" clId="{C5BC34D6-6441-48E7-88C4-E6F3F437ED46}" dt="2021-03-11T09:09:59.496" v="81" actId="478"/>
          <ac:spMkLst>
            <pc:docMk/>
            <pc:sldMk cId="912098357" sldId="337"/>
            <ac:spMk id="9" creationId="{B6990B61-32B2-4ADC-BF01-EDF7B4080F97}"/>
          </ac:spMkLst>
        </pc:spChg>
        <pc:spChg chg="mod">
          <ac:chgData name="Meyer Raphael (PAR-ES)" userId="79615dfe-ed48-4e74-a40f-4f7b034c1c27" providerId="ADAL" clId="{C5BC34D6-6441-48E7-88C4-E6F3F437ED46}" dt="2021-03-11T09:09:47.961" v="80"/>
          <ac:spMkLst>
            <pc:docMk/>
            <pc:sldMk cId="912098357" sldId="337"/>
            <ac:spMk id="10" creationId="{077DFD58-E5EE-4B68-9325-D935DB04DD40}"/>
          </ac:spMkLst>
        </pc:spChg>
        <pc:spChg chg="del">
          <ac:chgData name="Meyer Raphael (PAR-ES)" userId="79615dfe-ed48-4e74-a40f-4f7b034c1c27" providerId="ADAL" clId="{C5BC34D6-6441-48E7-88C4-E6F3F437ED46}" dt="2021-03-11T09:09:59.496" v="81" actId="478"/>
          <ac:spMkLst>
            <pc:docMk/>
            <pc:sldMk cId="912098357" sldId="337"/>
            <ac:spMk id="17" creationId="{785E740C-F94A-4208-8DFD-63A603C16577}"/>
          </ac:spMkLst>
        </pc:spChg>
        <pc:spChg chg="add">
          <ac:chgData name="Meyer Raphael (PAR-ES)" userId="79615dfe-ed48-4e74-a40f-4f7b034c1c27" providerId="ADAL" clId="{C5BC34D6-6441-48E7-88C4-E6F3F437ED46}" dt="2021-03-11T09:10:14.779" v="82"/>
          <ac:spMkLst>
            <pc:docMk/>
            <pc:sldMk cId="912098357" sldId="337"/>
            <ac:spMk id="23" creationId="{79146EBC-B10D-4A3C-A2BE-96FA496AA801}"/>
          </ac:spMkLst>
        </pc:spChg>
        <pc:spChg chg="del">
          <ac:chgData name="Meyer Raphael (PAR-ES)" userId="79615dfe-ed48-4e74-a40f-4f7b034c1c27" providerId="ADAL" clId="{C5BC34D6-6441-48E7-88C4-E6F3F437ED46}" dt="2021-03-11T09:09:59.496" v="81" actId="478"/>
          <ac:spMkLst>
            <pc:docMk/>
            <pc:sldMk cId="912098357" sldId="337"/>
            <ac:spMk id="26" creationId="{BFD498B5-D73E-4C8A-9FAF-B3547647538C}"/>
          </ac:spMkLst>
        </pc:spChg>
        <pc:spChg chg="mod">
          <ac:chgData name="Meyer Raphael (PAR-ES)" userId="79615dfe-ed48-4e74-a40f-4f7b034c1c27" providerId="ADAL" clId="{C5BC34D6-6441-48E7-88C4-E6F3F437ED46}" dt="2021-03-11T09:10:42.319" v="86" actId="14100"/>
          <ac:spMkLst>
            <pc:docMk/>
            <pc:sldMk cId="912098357" sldId="337"/>
            <ac:spMk id="27" creationId="{46A6B042-39EE-4A58-BBAA-13D52264B660}"/>
          </ac:spMkLst>
        </pc:spChg>
        <pc:spChg chg="add">
          <ac:chgData name="Meyer Raphael (PAR-ES)" userId="79615dfe-ed48-4e74-a40f-4f7b034c1c27" providerId="ADAL" clId="{C5BC34D6-6441-48E7-88C4-E6F3F437ED46}" dt="2021-03-11T09:10:14.779" v="82"/>
          <ac:spMkLst>
            <pc:docMk/>
            <pc:sldMk cId="912098357" sldId="337"/>
            <ac:spMk id="33" creationId="{E1093DAB-58D5-46F0-99AA-CE38E0E3B900}"/>
          </ac:spMkLst>
        </pc:spChg>
        <pc:spChg chg="add">
          <ac:chgData name="Meyer Raphael (PAR-ES)" userId="79615dfe-ed48-4e74-a40f-4f7b034c1c27" providerId="ADAL" clId="{C5BC34D6-6441-48E7-88C4-E6F3F437ED46}" dt="2021-03-11T09:10:14.779" v="82"/>
          <ac:spMkLst>
            <pc:docMk/>
            <pc:sldMk cId="912098357" sldId="337"/>
            <ac:spMk id="36" creationId="{E6805F1F-F0C1-44B5-8AF1-39CDE1E904A8}"/>
          </ac:spMkLst>
        </pc:spChg>
        <pc:spChg chg="add">
          <ac:chgData name="Meyer Raphael (PAR-ES)" userId="79615dfe-ed48-4e74-a40f-4f7b034c1c27" providerId="ADAL" clId="{C5BC34D6-6441-48E7-88C4-E6F3F437ED46}" dt="2021-03-11T09:10:14.779" v="82"/>
          <ac:spMkLst>
            <pc:docMk/>
            <pc:sldMk cId="912098357" sldId="337"/>
            <ac:spMk id="37" creationId="{E3E13AAB-6483-426A-B343-9337AF7B500D}"/>
          </ac:spMkLst>
        </pc:spChg>
      </pc:sldChg>
    </pc:docChg>
  </pc:docChgLst>
  <pc:docChgLst>
    <pc:chgData name="Meyer Raphael (PAR-ES)" userId="79615dfe-ed48-4e74-a40f-4f7b034c1c27" providerId="ADAL" clId="{A954C289-4C82-4190-A523-AF9FCD6AE807}"/>
    <pc:docChg chg="undo custSel modSld">
      <pc:chgData name="Meyer Raphael (PAR-ES)" userId="79615dfe-ed48-4e74-a40f-4f7b034c1c27" providerId="ADAL" clId="{A954C289-4C82-4190-A523-AF9FCD6AE807}" dt="2021-06-15T09:09:22.928" v="421" actId="1036"/>
      <pc:docMkLst>
        <pc:docMk/>
      </pc:docMkLst>
      <pc:sldChg chg="addSp delSp modSp mod">
        <pc:chgData name="Meyer Raphael (PAR-ES)" userId="79615dfe-ed48-4e74-a40f-4f7b034c1c27" providerId="ADAL" clId="{A954C289-4C82-4190-A523-AF9FCD6AE807}" dt="2021-06-15T09:09:22.928" v="421" actId="1036"/>
        <pc:sldMkLst>
          <pc:docMk/>
          <pc:sldMk cId="1495152177" sldId="298"/>
        </pc:sldMkLst>
        <pc:spChg chg="mod">
          <ac:chgData name="Meyer Raphael (PAR-ES)" userId="79615dfe-ed48-4e74-a40f-4f7b034c1c27" providerId="ADAL" clId="{A954C289-4C82-4190-A523-AF9FCD6AE807}" dt="2021-06-15T08:17:57.107" v="235" actId="27636"/>
          <ac:spMkLst>
            <pc:docMk/>
            <pc:sldMk cId="1495152177" sldId="298"/>
            <ac:spMk id="6" creationId="{0EEE4EA3-E16E-424B-97F9-53A8F5D585AE}"/>
          </ac:spMkLst>
        </pc:spChg>
        <pc:spChg chg="mod">
          <ac:chgData name="Meyer Raphael (PAR-ES)" userId="79615dfe-ed48-4e74-a40f-4f7b034c1c27" providerId="ADAL" clId="{A954C289-4C82-4190-A523-AF9FCD6AE807}" dt="2021-06-15T08:17:57.107" v="235" actId="27636"/>
          <ac:spMkLst>
            <pc:docMk/>
            <pc:sldMk cId="1495152177" sldId="298"/>
            <ac:spMk id="7" creationId="{51421822-C303-4FC2-BF5E-F4377E568635}"/>
          </ac:spMkLst>
        </pc:spChg>
        <pc:spChg chg="mod">
          <ac:chgData name="Meyer Raphael (PAR-ES)" userId="79615dfe-ed48-4e74-a40f-4f7b034c1c27" providerId="ADAL" clId="{A954C289-4C82-4190-A523-AF9FCD6AE807}" dt="2021-06-15T09:09:08.393" v="413" actId="1036"/>
          <ac:spMkLst>
            <pc:docMk/>
            <pc:sldMk cId="1495152177" sldId="298"/>
            <ac:spMk id="12" creationId="{970D2C07-63A2-4265-B006-56F685FE80A5}"/>
          </ac:spMkLst>
        </pc:spChg>
        <pc:spChg chg="mod">
          <ac:chgData name="Meyer Raphael (PAR-ES)" userId="79615dfe-ed48-4e74-a40f-4f7b034c1c27" providerId="ADAL" clId="{A954C289-4C82-4190-A523-AF9FCD6AE807}" dt="2021-06-15T09:09:08.393" v="413" actId="1036"/>
          <ac:spMkLst>
            <pc:docMk/>
            <pc:sldMk cId="1495152177" sldId="298"/>
            <ac:spMk id="13" creationId="{93412675-62AA-41D8-997C-4E877ED953A8}"/>
          </ac:spMkLst>
        </pc:spChg>
        <pc:graphicFrameChg chg="add del">
          <ac:chgData name="Meyer Raphael (PAR-ES)" userId="79615dfe-ed48-4e74-a40f-4f7b034c1c27" providerId="ADAL" clId="{A954C289-4C82-4190-A523-AF9FCD6AE807}" dt="2021-06-15T07:56:03.797" v="1" actId="478"/>
          <ac:graphicFrameMkLst>
            <pc:docMk/>
            <pc:sldMk cId="1495152177" sldId="298"/>
            <ac:graphicFrameMk id="4" creationId="{F3F921C0-1413-4CAF-B645-3BA5801C8853}"/>
          </ac:graphicFrameMkLst>
        </pc:graphicFrameChg>
        <pc:graphicFrameChg chg="mod">
          <ac:chgData name="Meyer Raphael (PAR-ES)" userId="79615dfe-ed48-4e74-a40f-4f7b034c1c27" providerId="ADAL" clId="{A954C289-4C82-4190-A523-AF9FCD6AE807}" dt="2021-06-15T08:18:06.090" v="237" actId="1035"/>
          <ac:graphicFrameMkLst>
            <pc:docMk/>
            <pc:sldMk cId="1495152177" sldId="298"/>
            <ac:graphicFrameMk id="5" creationId="{4CF6AB8B-CAB9-4C7E-8E59-E00357A4D7F0}"/>
          </ac:graphicFrameMkLst>
        </pc:graphicFrameChg>
        <pc:graphicFrameChg chg="add mod modGraphic">
          <ac:chgData name="Meyer Raphael (PAR-ES)" userId="79615dfe-ed48-4e74-a40f-4f7b034c1c27" providerId="ADAL" clId="{A954C289-4C82-4190-A523-AF9FCD6AE807}" dt="2021-06-15T09:08:11.892" v="349" actId="14100"/>
          <ac:graphicFrameMkLst>
            <pc:docMk/>
            <pc:sldMk cId="1495152177" sldId="298"/>
            <ac:graphicFrameMk id="9" creationId="{E1369C63-C4A7-403B-A03F-B004599F910A}"/>
          </ac:graphicFrameMkLst>
        </pc:graphicFrameChg>
        <pc:cxnChg chg="mod">
          <ac:chgData name="Meyer Raphael (PAR-ES)" userId="79615dfe-ed48-4e74-a40f-4f7b034c1c27" providerId="ADAL" clId="{A954C289-4C82-4190-A523-AF9FCD6AE807}" dt="2021-06-15T09:09:22.928" v="421" actId="1036"/>
          <ac:cxnSpMkLst>
            <pc:docMk/>
            <pc:sldMk cId="1495152177" sldId="298"/>
            <ac:cxnSpMk id="8" creationId="{6F3EB9D3-E612-42D9-859B-1905BD876C26}"/>
          </ac:cxnSpMkLst>
        </pc:cxnChg>
        <pc:cxnChg chg="add del mod ord">
          <ac:chgData name="Meyer Raphael (PAR-ES)" userId="79615dfe-ed48-4e74-a40f-4f7b034c1c27" providerId="ADAL" clId="{A954C289-4C82-4190-A523-AF9FCD6AE807}" dt="2021-06-15T08:17:13.922" v="230" actId="478"/>
          <ac:cxnSpMkLst>
            <pc:docMk/>
            <pc:sldMk cId="1495152177" sldId="298"/>
            <ac:cxnSpMk id="14" creationId="{D23AE8E3-B72E-4135-842E-A3E6577A69D4}"/>
          </ac:cxnSpMkLst>
        </pc:cxnChg>
      </pc:sldChg>
    </pc:docChg>
  </pc:docChgLst>
  <pc:docChgLst>
    <pc:chgData name="Meyer Raphael (PAR-ES)" userId="79615dfe-ed48-4e74-a40f-4f7b034c1c27" providerId="ADAL" clId="{075BCFC8-B02B-4DC4-A4AE-CC9F64D1F990}"/>
    <pc:docChg chg="custSel addSld delSld modSld">
      <pc:chgData name="Meyer Raphael (PAR-ES)" userId="79615dfe-ed48-4e74-a40f-4f7b034c1c27" providerId="ADAL" clId="{075BCFC8-B02B-4DC4-A4AE-CC9F64D1F990}" dt="2022-03-09T15:42:32.028" v="46" actId="27918"/>
      <pc:docMkLst>
        <pc:docMk/>
      </pc:docMkLst>
      <pc:sldChg chg="del">
        <pc:chgData name="Meyer Raphael (PAR-ES)" userId="79615dfe-ed48-4e74-a40f-4f7b034c1c27" providerId="ADAL" clId="{075BCFC8-B02B-4DC4-A4AE-CC9F64D1F990}" dt="2022-03-09T15:36:05.484" v="0" actId="47"/>
        <pc:sldMkLst>
          <pc:docMk/>
          <pc:sldMk cId="3064315074" sldId="413"/>
        </pc:sldMkLst>
      </pc:sldChg>
      <pc:sldChg chg="modSp">
        <pc:chgData name="Meyer Raphael (PAR-ES)" userId="79615dfe-ed48-4e74-a40f-4f7b034c1c27" providerId="ADAL" clId="{075BCFC8-B02B-4DC4-A4AE-CC9F64D1F990}" dt="2022-03-09T15:40:36.470" v="29"/>
        <pc:sldMkLst>
          <pc:docMk/>
          <pc:sldMk cId="1774855510" sldId="414"/>
        </pc:sldMkLst>
        <pc:graphicFrameChg chg="mod">
          <ac:chgData name="Meyer Raphael (PAR-ES)" userId="79615dfe-ed48-4e74-a40f-4f7b034c1c27" providerId="ADAL" clId="{075BCFC8-B02B-4DC4-A4AE-CC9F64D1F990}" dt="2022-03-09T15:40:36.470" v="29"/>
          <ac:graphicFrameMkLst>
            <pc:docMk/>
            <pc:sldMk cId="1774855510" sldId="414"/>
            <ac:graphicFrameMk id="9" creationId="{00000000-0000-0000-0000-000000000000}"/>
          </ac:graphicFrameMkLst>
        </pc:graphicFrameChg>
      </pc:sldChg>
      <pc:sldChg chg="modSp add mod">
        <pc:chgData name="Meyer Raphael (PAR-ES)" userId="79615dfe-ed48-4e74-a40f-4f7b034c1c27" providerId="ADAL" clId="{075BCFC8-B02B-4DC4-A4AE-CC9F64D1F990}" dt="2022-03-09T15:40:23.320" v="28"/>
        <pc:sldMkLst>
          <pc:docMk/>
          <pc:sldMk cId="2844382326" sldId="415"/>
        </pc:sldMkLst>
        <pc:spChg chg="mod">
          <ac:chgData name="Meyer Raphael (PAR-ES)" userId="79615dfe-ed48-4e74-a40f-4f7b034c1c27" providerId="ADAL" clId="{075BCFC8-B02B-4DC4-A4AE-CC9F64D1F990}" dt="2022-03-09T15:37:11.935" v="4"/>
          <ac:spMkLst>
            <pc:docMk/>
            <pc:sldMk cId="2844382326" sldId="415"/>
            <ac:spMk id="2" creationId="{00000000-0000-0000-0000-000000000000}"/>
          </ac:spMkLst>
        </pc:spChg>
        <pc:spChg chg="mod">
          <ac:chgData name="Meyer Raphael (PAR-ES)" userId="79615dfe-ed48-4e74-a40f-4f7b034c1c27" providerId="ADAL" clId="{075BCFC8-B02B-4DC4-A4AE-CC9F64D1F990}" dt="2022-03-09T15:37:23.197" v="6" actId="20577"/>
          <ac:spMkLst>
            <pc:docMk/>
            <pc:sldMk cId="2844382326" sldId="415"/>
            <ac:spMk id="6" creationId="{1F31F2D2-504B-4B14-95D4-0B8BCA2C6299}"/>
          </ac:spMkLst>
        </pc:spChg>
        <pc:graphicFrameChg chg="mod">
          <ac:chgData name="Meyer Raphael (PAR-ES)" userId="79615dfe-ed48-4e74-a40f-4f7b034c1c27" providerId="ADAL" clId="{075BCFC8-B02B-4DC4-A4AE-CC9F64D1F990}" dt="2022-03-09T15:40:23.320" v="28"/>
          <ac:graphicFrameMkLst>
            <pc:docMk/>
            <pc:sldMk cId="2844382326" sldId="415"/>
            <ac:graphicFrameMk id="9" creationId="{00000000-0000-0000-0000-000000000000}"/>
          </ac:graphicFrameMkLst>
        </pc:graphicFrameChg>
      </pc:sldChg>
      <pc:sldChg chg="modSp add mod">
        <pc:chgData name="Meyer Raphael (PAR-ES)" userId="79615dfe-ed48-4e74-a40f-4f7b034c1c27" providerId="ADAL" clId="{075BCFC8-B02B-4DC4-A4AE-CC9F64D1F990}" dt="2022-03-09T15:40:13.240" v="26"/>
        <pc:sldMkLst>
          <pc:docMk/>
          <pc:sldMk cId="2251798312" sldId="416"/>
        </pc:sldMkLst>
        <pc:spChg chg="mod">
          <ac:chgData name="Meyer Raphael (PAR-ES)" userId="79615dfe-ed48-4e74-a40f-4f7b034c1c27" providerId="ADAL" clId="{075BCFC8-B02B-4DC4-A4AE-CC9F64D1F990}" dt="2022-03-09T15:39:03.475" v="12"/>
          <ac:spMkLst>
            <pc:docMk/>
            <pc:sldMk cId="2251798312" sldId="416"/>
            <ac:spMk id="2" creationId="{00000000-0000-0000-0000-000000000000}"/>
          </ac:spMkLst>
        </pc:spChg>
        <pc:spChg chg="mod">
          <ac:chgData name="Meyer Raphael (PAR-ES)" userId="79615dfe-ed48-4e74-a40f-4f7b034c1c27" providerId="ADAL" clId="{075BCFC8-B02B-4DC4-A4AE-CC9F64D1F990}" dt="2022-03-09T15:39:15.755" v="14" actId="20577"/>
          <ac:spMkLst>
            <pc:docMk/>
            <pc:sldMk cId="2251798312" sldId="416"/>
            <ac:spMk id="6" creationId="{1F31F2D2-504B-4B14-95D4-0B8BCA2C6299}"/>
          </ac:spMkLst>
        </pc:spChg>
        <pc:spChg chg="mod">
          <ac:chgData name="Meyer Raphael (PAR-ES)" userId="79615dfe-ed48-4e74-a40f-4f7b034c1c27" providerId="ADAL" clId="{075BCFC8-B02B-4DC4-A4AE-CC9F64D1F990}" dt="2022-03-09T15:39:29.391" v="20" actId="20577"/>
          <ac:spMkLst>
            <pc:docMk/>
            <pc:sldMk cId="2251798312" sldId="416"/>
            <ac:spMk id="7" creationId="{997E4419-A7A8-4264-97B0-3A44B665821E}"/>
          </ac:spMkLst>
        </pc:spChg>
        <pc:graphicFrameChg chg="mod">
          <ac:chgData name="Meyer Raphael (PAR-ES)" userId="79615dfe-ed48-4e74-a40f-4f7b034c1c27" providerId="ADAL" clId="{075BCFC8-B02B-4DC4-A4AE-CC9F64D1F990}" dt="2022-03-09T15:40:13.240" v="26"/>
          <ac:graphicFrameMkLst>
            <pc:docMk/>
            <pc:sldMk cId="2251798312" sldId="416"/>
            <ac:graphicFrameMk id="9" creationId="{00000000-0000-0000-0000-000000000000}"/>
          </ac:graphicFrameMkLst>
        </pc:graphicFrameChg>
      </pc:sldChg>
      <pc:sldChg chg="modSp add mod">
        <pc:chgData name="Meyer Raphael (PAR-ES)" userId="79615dfe-ed48-4e74-a40f-4f7b034c1c27" providerId="ADAL" clId="{075BCFC8-B02B-4DC4-A4AE-CC9F64D1F990}" dt="2022-03-09T15:42:32.028" v="46" actId="27918"/>
        <pc:sldMkLst>
          <pc:docMk/>
          <pc:sldMk cId="1913231849" sldId="417"/>
        </pc:sldMkLst>
        <pc:spChg chg="mod">
          <ac:chgData name="Meyer Raphael (PAR-ES)" userId="79615dfe-ed48-4e74-a40f-4f7b034c1c27" providerId="ADAL" clId="{075BCFC8-B02B-4DC4-A4AE-CC9F64D1F990}" dt="2022-03-09T15:41:32.284" v="31"/>
          <ac:spMkLst>
            <pc:docMk/>
            <pc:sldMk cId="1913231849" sldId="417"/>
            <ac:spMk id="2" creationId="{00000000-0000-0000-0000-000000000000}"/>
          </ac:spMkLst>
        </pc:spChg>
        <pc:spChg chg="mod">
          <ac:chgData name="Meyer Raphael (PAR-ES)" userId="79615dfe-ed48-4e74-a40f-4f7b034c1c27" providerId="ADAL" clId="{075BCFC8-B02B-4DC4-A4AE-CC9F64D1F990}" dt="2022-03-09T15:41:53.137" v="33" actId="20577"/>
          <ac:spMkLst>
            <pc:docMk/>
            <pc:sldMk cId="1913231849" sldId="417"/>
            <ac:spMk id="6" creationId="{1F31F2D2-504B-4B14-95D4-0B8BCA2C6299}"/>
          </ac:spMkLst>
        </pc:spChg>
        <pc:spChg chg="mod">
          <ac:chgData name="Meyer Raphael (PAR-ES)" userId="79615dfe-ed48-4e74-a40f-4f7b034c1c27" providerId="ADAL" clId="{075BCFC8-B02B-4DC4-A4AE-CC9F64D1F990}" dt="2022-03-09T15:41:58.782" v="41" actId="20577"/>
          <ac:spMkLst>
            <pc:docMk/>
            <pc:sldMk cId="1913231849" sldId="417"/>
            <ac:spMk id="7" creationId="{997E4419-A7A8-4264-97B0-3A44B665821E}"/>
          </ac:spMkLst>
        </pc:spChg>
        <pc:graphicFrameChg chg="mod">
          <ac:chgData name="Meyer Raphael (PAR-ES)" userId="79615dfe-ed48-4e74-a40f-4f7b034c1c27" providerId="ADAL" clId="{075BCFC8-B02B-4DC4-A4AE-CC9F64D1F990}" dt="2022-03-09T15:40:46.551" v="30"/>
          <ac:graphicFrameMkLst>
            <pc:docMk/>
            <pc:sldMk cId="1913231849" sldId="417"/>
            <ac:graphicFrameMk id="9" creationId="{00000000-0000-0000-0000-000000000000}"/>
          </ac:graphicFrameMkLst>
        </pc:graphicFrameChg>
      </pc:sldChg>
    </pc:docChg>
  </pc:docChgLst>
  <pc:docChgLst>
    <pc:chgData name="Meyer Raphael (KOM-PGA-VSF)" userId="79615dfe-ed48-4e74-a40f-4f7b034c1c27" providerId="ADAL" clId="{96D77013-12DF-4911-886E-DED6CCA30677}"/>
    <pc:docChg chg="undo redo custSel addSld delSld modSld sldOrd modMainMaster">
      <pc:chgData name="Meyer Raphael (KOM-PGA-VSF)" userId="79615dfe-ed48-4e74-a40f-4f7b034c1c27" providerId="ADAL" clId="{96D77013-12DF-4911-886E-DED6CCA30677}" dt="2020-12-16T10:38:55.297" v="4018" actId="2696"/>
      <pc:docMkLst>
        <pc:docMk/>
      </pc:docMkLst>
      <pc:sldChg chg="del">
        <pc:chgData name="Meyer Raphael (KOM-PGA-VSF)" userId="79615dfe-ed48-4e74-a40f-4f7b034c1c27" providerId="ADAL" clId="{96D77013-12DF-4911-886E-DED6CCA30677}" dt="2020-10-30T14:16:22.334" v="226" actId="2696"/>
        <pc:sldMkLst>
          <pc:docMk/>
          <pc:sldMk cId="1624757107" sldId="293"/>
        </pc:sldMkLst>
      </pc:sldChg>
      <pc:sldChg chg="addSp delSp modSp add del">
        <pc:chgData name="Meyer Raphael (KOM-PGA-VSF)" userId="79615dfe-ed48-4e74-a40f-4f7b034c1c27" providerId="ADAL" clId="{96D77013-12DF-4911-886E-DED6CCA30677}" dt="2020-10-30T14:16:25.156" v="227" actId="2696"/>
        <pc:sldMkLst>
          <pc:docMk/>
          <pc:sldMk cId="278967075" sldId="294"/>
        </pc:sldMkLst>
        <pc:spChg chg="add del">
          <ac:chgData name="Meyer Raphael (KOM-PGA-VSF)" userId="79615dfe-ed48-4e74-a40f-4f7b034c1c27" providerId="ADAL" clId="{96D77013-12DF-4911-886E-DED6CCA30677}" dt="2020-09-30T11:38:46.785" v="19"/>
          <ac:spMkLst>
            <pc:docMk/>
            <pc:sldMk cId="278967075" sldId="294"/>
            <ac:spMk id="11" creationId="{8815ABAA-94D8-47C4-B644-FDF9F27DE999}"/>
          </ac:spMkLst>
        </pc:spChg>
        <pc:spChg chg="mod">
          <ac:chgData name="Meyer Raphael (KOM-PGA-VSF)" userId="79615dfe-ed48-4e74-a40f-4f7b034c1c27" providerId="ADAL" clId="{96D77013-12DF-4911-886E-DED6CCA30677}" dt="2020-09-30T11:38:13.845" v="11" actId="1076"/>
          <ac:spMkLst>
            <pc:docMk/>
            <pc:sldMk cId="278967075" sldId="294"/>
            <ac:spMk id="17" creationId="{B5E6478D-2E3B-4859-9876-DD849397A82E}"/>
          </ac:spMkLst>
        </pc:spChg>
        <pc:graphicFrameChg chg="mod">
          <ac:chgData name="Meyer Raphael (KOM-PGA-VSF)" userId="79615dfe-ed48-4e74-a40f-4f7b034c1c27" providerId="ADAL" clId="{96D77013-12DF-4911-886E-DED6CCA30677}" dt="2020-09-30T11:21:51.226" v="4" actId="2085"/>
          <ac:graphicFrameMkLst>
            <pc:docMk/>
            <pc:sldMk cId="278967075" sldId="294"/>
            <ac:graphicFrameMk id="18" creationId="{9C553D07-24F5-41AC-9FDF-CB98346595E5}"/>
          </ac:graphicFrameMkLst>
        </pc:graphicFrameChg>
        <pc:graphicFrameChg chg="mod">
          <ac:chgData name="Meyer Raphael (KOM-PGA-VSF)" userId="79615dfe-ed48-4e74-a40f-4f7b034c1c27" providerId="ADAL" clId="{96D77013-12DF-4911-886E-DED6CCA30677}" dt="2020-09-30T11:22:19.476" v="7" actId="2085"/>
          <ac:graphicFrameMkLst>
            <pc:docMk/>
            <pc:sldMk cId="278967075" sldId="294"/>
            <ac:graphicFrameMk id="19" creationId="{13003C14-5693-4BC8-B311-D58088B76A20}"/>
          </ac:graphicFrameMkLst>
        </pc:graphicFrameChg>
      </pc:sldChg>
      <pc:sldChg chg="addSp delSp modSp add mod ord modTransition">
        <pc:chgData name="Meyer Raphael (KOM-PGA-VSF)" userId="79615dfe-ed48-4e74-a40f-4f7b034c1c27" providerId="ADAL" clId="{96D77013-12DF-4911-886E-DED6CCA30677}" dt="2020-11-18T15:19:55.161" v="3194"/>
        <pc:sldMkLst>
          <pc:docMk/>
          <pc:sldMk cId="342226240" sldId="295"/>
        </pc:sldMkLst>
        <pc:spChg chg="mod">
          <ac:chgData name="Meyer Raphael (KOM-PGA-VSF)" userId="79615dfe-ed48-4e74-a40f-4f7b034c1c27" providerId="ADAL" clId="{96D77013-12DF-4911-886E-DED6CCA30677}" dt="2020-11-18T09:30:54.597" v="2558"/>
          <ac:spMkLst>
            <pc:docMk/>
            <pc:sldMk cId="342226240" sldId="295"/>
            <ac:spMk id="2" creationId="{A2DC317F-F1F4-4624-8FC1-3B68C1DBB3DA}"/>
          </ac:spMkLst>
        </pc:spChg>
        <pc:spChg chg="del">
          <ac:chgData name="Meyer Raphael (KOM-PGA-VSF)" userId="79615dfe-ed48-4e74-a40f-4f7b034c1c27" providerId="ADAL" clId="{96D77013-12DF-4911-886E-DED6CCA30677}" dt="2020-09-30T11:41:30.947" v="63" actId="478"/>
          <ac:spMkLst>
            <pc:docMk/>
            <pc:sldMk cId="342226240" sldId="295"/>
            <ac:spMk id="4" creationId="{E364C23F-272E-4E37-9AAA-54A8205ED9AF}"/>
          </ac:spMkLst>
        </pc:spChg>
        <pc:spChg chg="add mod">
          <ac:chgData name="Meyer Raphael (KOM-PGA-VSF)" userId="79615dfe-ed48-4e74-a40f-4f7b034c1c27" providerId="ADAL" clId="{96D77013-12DF-4911-886E-DED6CCA30677}" dt="2020-09-30T11:41:11.200" v="60" actId="1076"/>
          <ac:spMkLst>
            <pc:docMk/>
            <pc:sldMk cId="342226240" sldId="295"/>
            <ac:spMk id="7" creationId="{BA3F9A72-0541-4D1F-8CD8-1C2B8074FA1B}"/>
          </ac:spMkLst>
        </pc:spChg>
        <pc:spChg chg="add mod">
          <ac:chgData name="Meyer Raphael (KOM-PGA-VSF)" userId="79615dfe-ed48-4e74-a40f-4f7b034c1c27" providerId="ADAL" clId="{96D77013-12DF-4911-886E-DED6CCA30677}" dt="2020-11-13T12:59:35.120" v="851" actId="20577"/>
          <ac:spMkLst>
            <pc:docMk/>
            <pc:sldMk cId="342226240" sldId="295"/>
            <ac:spMk id="8" creationId="{B6DF2E20-66B6-43FF-BD5C-488FAFC28EE4}"/>
          </ac:spMkLst>
        </pc:spChg>
        <pc:spChg chg="add mod">
          <ac:chgData name="Meyer Raphael (KOM-PGA-VSF)" userId="79615dfe-ed48-4e74-a40f-4f7b034c1c27" providerId="ADAL" clId="{96D77013-12DF-4911-886E-DED6CCA30677}" dt="2020-10-07T11:44:49.019" v="93" actId="1076"/>
          <ac:spMkLst>
            <pc:docMk/>
            <pc:sldMk cId="342226240" sldId="295"/>
            <ac:spMk id="9" creationId="{B6990B61-32B2-4ADC-BF01-EDF7B4080F97}"/>
          </ac:spMkLst>
        </pc:spChg>
        <pc:spChg chg="add mod">
          <ac:chgData name="Meyer Raphael (KOM-PGA-VSF)" userId="79615dfe-ed48-4e74-a40f-4f7b034c1c27" providerId="ADAL" clId="{96D77013-12DF-4911-886E-DED6CCA30677}" dt="2020-11-18T09:31:10.795" v="2561"/>
          <ac:spMkLst>
            <pc:docMk/>
            <pc:sldMk cId="342226240" sldId="295"/>
            <ac:spMk id="10" creationId="{077DFD58-E5EE-4B68-9325-D935DB04DD40}"/>
          </ac:spMkLst>
        </pc:spChg>
        <pc:graphicFrameChg chg="add mod">
          <ac:chgData name="Meyer Raphael (KOM-PGA-VSF)" userId="79615dfe-ed48-4e74-a40f-4f7b034c1c27" providerId="ADAL" clId="{96D77013-12DF-4911-886E-DED6CCA30677}" dt="2020-09-30T11:42:33.301" v="68" actId="1076"/>
          <ac:graphicFrameMkLst>
            <pc:docMk/>
            <pc:sldMk cId="342226240" sldId="295"/>
            <ac:graphicFrameMk id="5" creationId="{4CF6AB8B-CAB9-4C7E-8E59-E00357A4D7F0}"/>
          </ac:graphicFrameMkLst>
        </pc:graphicFrameChg>
        <pc:graphicFrameChg chg="add mod">
          <ac:chgData name="Meyer Raphael (KOM-PGA-VSF)" userId="79615dfe-ed48-4e74-a40f-4f7b034c1c27" providerId="ADAL" clId="{96D77013-12DF-4911-886E-DED6CCA30677}" dt="2020-09-30T11:42:43.651" v="69" actId="1076"/>
          <ac:graphicFrameMkLst>
            <pc:docMk/>
            <pc:sldMk cId="342226240" sldId="295"/>
            <ac:graphicFrameMk id="6" creationId="{60571ECF-B349-4A7D-BB52-C93BE55CD5F3}"/>
          </ac:graphicFrameMkLst>
        </pc:graphicFrameChg>
      </pc:sldChg>
      <pc:sldChg chg="addSp delSp modSp add mod ord modTransition">
        <pc:chgData name="Meyer Raphael (KOM-PGA-VSF)" userId="79615dfe-ed48-4e74-a40f-4f7b034c1c27" providerId="ADAL" clId="{96D77013-12DF-4911-886E-DED6CCA30677}" dt="2020-11-25T13:49:29.843" v="3323"/>
        <pc:sldMkLst>
          <pc:docMk/>
          <pc:sldMk cId="1492035608" sldId="296"/>
        </pc:sldMkLst>
        <pc:spChg chg="mod">
          <ac:chgData name="Meyer Raphael (KOM-PGA-VSF)" userId="79615dfe-ed48-4e74-a40f-4f7b034c1c27" providerId="ADAL" clId="{96D77013-12DF-4911-886E-DED6CCA30677}" dt="2020-11-18T15:23:11.379" v="3209"/>
          <ac:spMkLst>
            <pc:docMk/>
            <pc:sldMk cId="1492035608" sldId="296"/>
            <ac:spMk id="2" creationId="{4294D798-D9CC-4779-9F40-A41AB7676D80}"/>
          </ac:spMkLst>
        </pc:spChg>
        <pc:spChg chg="del">
          <ac:chgData name="Meyer Raphael (KOM-PGA-VSF)" userId="79615dfe-ed48-4e74-a40f-4f7b034c1c27" providerId="ADAL" clId="{96D77013-12DF-4911-886E-DED6CCA30677}" dt="2020-10-27T10:45:40.203" v="143" actId="478"/>
          <ac:spMkLst>
            <pc:docMk/>
            <pc:sldMk cId="1492035608" sldId="296"/>
            <ac:spMk id="4" creationId="{9A10E6FE-137B-4D58-923B-9E162BCCF342}"/>
          </ac:spMkLst>
        </pc:spChg>
        <pc:spChg chg="add del">
          <ac:chgData name="Meyer Raphael (KOM-PGA-VSF)" userId="79615dfe-ed48-4e74-a40f-4f7b034c1c27" providerId="ADAL" clId="{96D77013-12DF-4911-886E-DED6CCA30677}" dt="2020-10-27T10:52:15.686" v="170" actId="478"/>
          <ac:spMkLst>
            <pc:docMk/>
            <pc:sldMk cId="1492035608" sldId="296"/>
            <ac:spMk id="6" creationId="{370F36C1-7EAD-44EF-A453-7008D2EBD880}"/>
          </ac:spMkLst>
        </pc:spChg>
        <pc:spChg chg="add mod">
          <ac:chgData name="Meyer Raphael (KOM-PGA-VSF)" userId="79615dfe-ed48-4e74-a40f-4f7b034c1c27" providerId="ADAL" clId="{96D77013-12DF-4911-886E-DED6CCA30677}" dt="2020-11-18T15:23:21.215" v="3210"/>
          <ac:spMkLst>
            <pc:docMk/>
            <pc:sldMk cId="1492035608" sldId="296"/>
            <ac:spMk id="7" creationId="{7341AB6C-5169-46A0-9238-C1EBE413EB13}"/>
          </ac:spMkLst>
        </pc:spChg>
        <pc:graphicFrameChg chg="add mod">
          <ac:chgData name="Meyer Raphael (KOM-PGA-VSF)" userId="79615dfe-ed48-4e74-a40f-4f7b034c1c27" providerId="ADAL" clId="{96D77013-12DF-4911-886E-DED6CCA30677}" dt="2020-11-18T15:22:52.987" v="3208"/>
          <ac:graphicFrameMkLst>
            <pc:docMk/>
            <pc:sldMk cId="1492035608" sldId="296"/>
            <ac:graphicFrameMk id="5" creationId="{4C4E0179-01FC-4095-AD01-5923672B37F7}"/>
          </ac:graphicFrameMkLst>
        </pc:graphicFrameChg>
      </pc:sldChg>
      <pc:sldChg chg="addSp delSp modSp add mod ord modTransition setBg">
        <pc:chgData name="Meyer Raphael (KOM-PGA-VSF)" userId="79615dfe-ed48-4e74-a40f-4f7b034c1c27" providerId="ADAL" clId="{96D77013-12DF-4911-886E-DED6CCA30677}" dt="2020-11-17T12:47:34.265" v="1369" actId="27918"/>
        <pc:sldMkLst>
          <pc:docMk/>
          <pc:sldMk cId="1670059232" sldId="297"/>
        </pc:sldMkLst>
        <pc:spChg chg="mod">
          <ac:chgData name="Meyer Raphael (KOM-PGA-VSF)" userId="79615dfe-ed48-4e74-a40f-4f7b034c1c27" providerId="ADAL" clId="{96D77013-12DF-4911-886E-DED6CCA30677}" dt="2020-11-17T10:38:28.544" v="1169" actId="20577"/>
          <ac:spMkLst>
            <pc:docMk/>
            <pc:sldMk cId="1670059232" sldId="297"/>
            <ac:spMk id="2" creationId="{A2DC317F-F1F4-4624-8FC1-3B68C1DBB3DA}"/>
          </ac:spMkLst>
        </pc:spChg>
        <pc:spChg chg="mod">
          <ac:chgData name="Meyer Raphael (KOM-PGA-VSF)" userId="79615dfe-ed48-4e74-a40f-4f7b034c1c27" providerId="ADAL" clId="{96D77013-12DF-4911-886E-DED6CCA30677}" dt="2020-11-17T08:38:22.882" v="1025" actId="1076"/>
          <ac:spMkLst>
            <pc:docMk/>
            <pc:sldMk cId="1670059232" sldId="297"/>
            <ac:spMk id="7" creationId="{BA3F9A72-0541-4D1F-8CD8-1C2B8074FA1B}"/>
          </ac:spMkLst>
        </pc:spChg>
        <pc:spChg chg="del">
          <ac:chgData name="Meyer Raphael (KOM-PGA-VSF)" userId="79615dfe-ed48-4e74-a40f-4f7b034c1c27" providerId="ADAL" clId="{96D77013-12DF-4911-886E-DED6CCA30677}" dt="2020-11-17T07:48:28.018" v="949" actId="478"/>
          <ac:spMkLst>
            <pc:docMk/>
            <pc:sldMk cId="1670059232" sldId="297"/>
            <ac:spMk id="8" creationId="{B6DF2E20-66B6-43FF-BD5C-488FAFC28EE4}"/>
          </ac:spMkLst>
        </pc:spChg>
        <pc:spChg chg="mod">
          <ac:chgData name="Meyer Raphael (KOM-PGA-VSF)" userId="79615dfe-ed48-4e74-a40f-4f7b034c1c27" providerId="ADAL" clId="{96D77013-12DF-4911-886E-DED6CCA30677}" dt="2020-11-17T10:25:45.756" v="1148" actId="1076"/>
          <ac:spMkLst>
            <pc:docMk/>
            <pc:sldMk cId="1670059232" sldId="297"/>
            <ac:spMk id="9" creationId="{B6990B61-32B2-4ADC-BF01-EDF7B4080F97}"/>
          </ac:spMkLst>
        </pc:spChg>
        <pc:spChg chg="add del mod">
          <ac:chgData name="Meyer Raphael (KOM-PGA-VSF)" userId="79615dfe-ed48-4e74-a40f-4f7b034c1c27" providerId="ADAL" clId="{96D77013-12DF-4911-886E-DED6CCA30677}" dt="2020-11-17T12:26:57.973" v="1241"/>
          <ac:spMkLst>
            <pc:docMk/>
            <pc:sldMk cId="1670059232" sldId="297"/>
            <ac:spMk id="12" creationId="{52294493-C20C-4A63-9105-043CA5A1DA10}"/>
          </ac:spMkLst>
        </pc:spChg>
        <pc:spChg chg="add mod">
          <ac:chgData name="Meyer Raphael (KOM-PGA-VSF)" userId="79615dfe-ed48-4e74-a40f-4f7b034c1c27" providerId="ADAL" clId="{96D77013-12DF-4911-886E-DED6CCA30677}" dt="2020-11-17T12:27:52.647" v="1260" actId="20577"/>
          <ac:spMkLst>
            <pc:docMk/>
            <pc:sldMk cId="1670059232" sldId="297"/>
            <ac:spMk id="13" creationId="{5F25AD10-BAC9-4E8D-A3B3-3F3B37120D18}"/>
          </ac:spMkLst>
        </pc:spChg>
        <pc:spChg chg="add mod">
          <ac:chgData name="Meyer Raphael (KOM-PGA-VSF)" userId="79615dfe-ed48-4e74-a40f-4f7b034c1c27" providerId="ADAL" clId="{96D77013-12DF-4911-886E-DED6CCA30677}" dt="2020-11-17T12:36:01.977" v="1325" actId="1076"/>
          <ac:spMkLst>
            <pc:docMk/>
            <pc:sldMk cId="1670059232" sldId="297"/>
            <ac:spMk id="15" creationId="{BF705243-783E-4A9E-B41E-B5E5E3EC1E51}"/>
          </ac:spMkLst>
        </pc:spChg>
        <pc:spChg chg="add del mod">
          <ac:chgData name="Meyer Raphael (KOM-PGA-VSF)" userId="79615dfe-ed48-4e74-a40f-4f7b034c1c27" providerId="ADAL" clId="{96D77013-12DF-4911-886E-DED6CCA30677}" dt="2020-11-17T12:31:34.416" v="1310" actId="478"/>
          <ac:spMkLst>
            <pc:docMk/>
            <pc:sldMk cId="1670059232" sldId="297"/>
            <ac:spMk id="16" creationId="{CAE6C648-73DB-4A97-AB8E-196D106E3D28}"/>
          </ac:spMkLst>
        </pc:spChg>
        <pc:graphicFrameChg chg="mod">
          <ac:chgData name="Meyer Raphael (KOM-PGA-VSF)" userId="79615dfe-ed48-4e74-a40f-4f7b034c1c27" providerId="ADAL" clId="{96D77013-12DF-4911-886E-DED6CCA30677}" dt="2020-11-17T12:36:44.059" v="1356"/>
          <ac:graphicFrameMkLst>
            <pc:docMk/>
            <pc:sldMk cId="1670059232" sldId="297"/>
            <ac:graphicFrameMk id="5" creationId="{4CF6AB8B-CAB9-4C7E-8E59-E00357A4D7F0}"/>
          </ac:graphicFrameMkLst>
        </pc:graphicFrameChg>
        <pc:graphicFrameChg chg="del mod">
          <ac:chgData name="Meyer Raphael (KOM-PGA-VSF)" userId="79615dfe-ed48-4e74-a40f-4f7b034c1c27" providerId="ADAL" clId="{96D77013-12DF-4911-886E-DED6CCA30677}" dt="2020-11-17T10:25:37.458" v="1147" actId="478"/>
          <ac:graphicFrameMkLst>
            <pc:docMk/>
            <pc:sldMk cId="1670059232" sldId="297"/>
            <ac:graphicFrameMk id="6" creationId="{60571ECF-B349-4A7D-BB52-C93BE55CD5F3}"/>
          </ac:graphicFrameMkLst>
        </pc:graphicFrameChg>
        <pc:cxnChg chg="add mod">
          <ac:chgData name="Meyer Raphael (KOM-PGA-VSF)" userId="79615dfe-ed48-4e74-a40f-4f7b034c1c27" providerId="ADAL" clId="{96D77013-12DF-4911-886E-DED6CCA30677}" dt="2020-11-17T12:26:49.739" v="1238" actId="11529"/>
          <ac:cxnSpMkLst>
            <pc:docMk/>
            <pc:sldMk cId="1670059232" sldId="297"/>
            <ac:cxnSpMk id="4" creationId="{5A6D5A69-1622-463F-9124-B6EF867D5DE3}"/>
          </ac:cxnSpMkLst>
        </pc:cxnChg>
        <pc:cxnChg chg="add del mod">
          <ac:chgData name="Meyer Raphael (KOM-PGA-VSF)" userId="79615dfe-ed48-4e74-a40f-4f7b034c1c27" providerId="ADAL" clId="{96D77013-12DF-4911-886E-DED6CCA30677}" dt="2020-11-17T07:48:12.600" v="945" actId="478"/>
          <ac:cxnSpMkLst>
            <pc:docMk/>
            <pc:sldMk cId="1670059232" sldId="297"/>
            <ac:cxnSpMk id="11" creationId="{B63FEDE5-C1DE-450C-9441-3739C88B7DFA}"/>
          </ac:cxnSpMkLst>
        </pc:cxnChg>
        <pc:cxnChg chg="add mod">
          <ac:chgData name="Meyer Raphael (KOM-PGA-VSF)" userId="79615dfe-ed48-4e74-a40f-4f7b034c1c27" providerId="ADAL" clId="{96D77013-12DF-4911-886E-DED6CCA30677}" dt="2020-11-17T12:35:56.354" v="1324" actId="1076"/>
          <ac:cxnSpMkLst>
            <pc:docMk/>
            <pc:sldMk cId="1670059232" sldId="297"/>
            <ac:cxnSpMk id="14" creationId="{0074DA36-AC1B-434E-8C33-ED084765FD3B}"/>
          </ac:cxnSpMkLst>
        </pc:cxnChg>
      </pc:sldChg>
      <pc:sldChg chg="addSp delSp modSp add mod">
        <pc:chgData name="Meyer Raphael (KOM-PGA-VSF)" userId="79615dfe-ed48-4e74-a40f-4f7b034c1c27" providerId="ADAL" clId="{96D77013-12DF-4911-886E-DED6CCA30677}" dt="2020-11-13T12:57:42.543" v="832" actId="478"/>
        <pc:sldMkLst>
          <pc:docMk/>
          <pc:sldMk cId="1495152177" sldId="298"/>
        </pc:sldMkLst>
        <pc:spChg chg="mod">
          <ac:chgData name="Meyer Raphael (KOM-PGA-VSF)" userId="79615dfe-ed48-4e74-a40f-4f7b034c1c27" providerId="ADAL" clId="{96D77013-12DF-4911-886E-DED6CCA30677}" dt="2020-11-13T12:56:47.812" v="786" actId="20577"/>
          <ac:spMkLst>
            <pc:docMk/>
            <pc:sldMk cId="1495152177" sldId="298"/>
            <ac:spMk id="2" creationId="{A2DC317F-F1F4-4624-8FC1-3B68C1DBB3DA}"/>
          </ac:spMkLst>
        </pc:spChg>
        <pc:spChg chg="del mod">
          <ac:chgData name="Meyer Raphael (KOM-PGA-VSF)" userId="79615dfe-ed48-4e74-a40f-4f7b034c1c27" providerId="ADAL" clId="{96D77013-12DF-4911-886E-DED6CCA30677}" dt="2020-10-30T14:44:52.985" v="285" actId="478"/>
          <ac:spMkLst>
            <pc:docMk/>
            <pc:sldMk cId="1495152177" sldId="298"/>
            <ac:spMk id="7" creationId="{BA3F9A72-0541-4D1F-8CD8-1C2B8074FA1B}"/>
          </ac:spMkLst>
        </pc:spChg>
        <pc:spChg chg="del mod">
          <ac:chgData name="Meyer Raphael (KOM-PGA-VSF)" userId="79615dfe-ed48-4e74-a40f-4f7b034c1c27" providerId="ADAL" clId="{96D77013-12DF-4911-886E-DED6CCA30677}" dt="2020-10-30T14:45:37.002" v="305" actId="478"/>
          <ac:spMkLst>
            <pc:docMk/>
            <pc:sldMk cId="1495152177" sldId="298"/>
            <ac:spMk id="8" creationId="{B6DF2E20-66B6-43FF-BD5C-488FAFC28EE4}"/>
          </ac:spMkLst>
        </pc:spChg>
        <pc:spChg chg="del mod">
          <ac:chgData name="Meyer Raphael (KOM-PGA-VSF)" userId="79615dfe-ed48-4e74-a40f-4f7b034c1c27" providerId="ADAL" clId="{96D77013-12DF-4911-886E-DED6CCA30677}" dt="2020-10-30T14:44:49.827" v="284" actId="478"/>
          <ac:spMkLst>
            <pc:docMk/>
            <pc:sldMk cId="1495152177" sldId="298"/>
            <ac:spMk id="9" creationId="{B6990B61-32B2-4ADC-BF01-EDF7B4080F97}"/>
          </ac:spMkLst>
        </pc:spChg>
        <pc:spChg chg="mod">
          <ac:chgData name="Meyer Raphael (KOM-PGA-VSF)" userId="79615dfe-ed48-4e74-a40f-4f7b034c1c27" providerId="ADAL" clId="{96D77013-12DF-4911-886E-DED6CCA30677}" dt="2020-11-13T12:56:57.286" v="799" actId="6549"/>
          <ac:spMkLst>
            <pc:docMk/>
            <pc:sldMk cId="1495152177" sldId="298"/>
            <ac:spMk id="10" creationId="{077DFD58-E5EE-4B68-9325-D935DB04DD40}"/>
          </ac:spMkLst>
        </pc:spChg>
        <pc:spChg chg="add mod">
          <ac:chgData name="Meyer Raphael (KOM-PGA-VSF)" userId="79615dfe-ed48-4e74-a40f-4f7b034c1c27" providerId="ADAL" clId="{96D77013-12DF-4911-886E-DED6CCA30677}" dt="2020-10-30T14:51:01.192" v="362" actId="1076"/>
          <ac:spMkLst>
            <pc:docMk/>
            <pc:sldMk cId="1495152177" sldId="298"/>
            <ac:spMk id="11" creationId="{216B739F-8150-4262-9342-2F1CBFEB8A15}"/>
          </ac:spMkLst>
        </pc:spChg>
        <pc:spChg chg="add mod">
          <ac:chgData name="Meyer Raphael (KOM-PGA-VSF)" userId="79615dfe-ed48-4e74-a40f-4f7b034c1c27" providerId="ADAL" clId="{96D77013-12DF-4911-886E-DED6CCA30677}" dt="2020-10-30T14:50:57.916" v="361" actId="1076"/>
          <ac:spMkLst>
            <pc:docMk/>
            <pc:sldMk cId="1495152177" sldId="298"/>
            <ac:spMk id="12" creationId="{466A77C5-3AD7-44B3-83A7-0B8FF87DCA70}"/>
          </ac:spMkLst>
        </pc:spChg>
        <pc:spChg chg="add del mod">
          <ac:chgData name="Meyer Raphael (KOM-PGA-VSF)" userId="79615dfe-ed48-4e74-a40f-4f7b034c1c27" providerId="ADAL" clId="{96D77013-12DF-4911-886E-DED6CCA30677}" dt="2020-11-13T12:57:42.543" v="832" actId="478"/>
          <ac:spMkLst>
            <pc:docMk/>
            <pc:sldMk cId="1495152177" sldId="298"/>
            <ac:spMk id="14" creationId="{FD64CF28-6B33-4810-94AF-48BDFC5B6DB7}"/>
          </ac:spMkLst>
        </pc:spChg>
        <pc:spChg chg="add mod">
          <ac:chgData name="Meyer Raphael (KOM-PGA-VSF)" userId="79615dfe-ed48-4e74-a40f-4f7b034c1c27" providerId="ADAL" clId="{96D77013-12DF-4911-886E-DED6CCA30677}" dt="2020-10-30T14:55:15.136" v="403" actId="1038"/>
          <ac:spMkLst>
            <pc:docMk/>
            <pc:sldMk cId="1495152177" sldId="298"/>
            <ac:spMk id="16" creationId="{E0218AF3-B8F0-43F9-B56B-123AF027A635}"/>
          </ac:spMkLst>
        </pc:spChg>
        <pc:spChg chg="add del mod">
          <ac:chgData name="Meyer Raphael (KOM-PGA-VSF)" userId="79615dfe-ed48-4e74-a40f-4f7b034c1c27" providerId="ADAL" clId="{96D77013-12DF-4911-886E-DED6CCA30677}" dt="2020-10-30T14:56:49.786" v="418" actId="478"/>
          <ac:spMkLst>
            <pc:docMk/>
            <pc:sldMk cId="1495152177" sldId="298"/>
            <ac:spMk id="20" creationId="{1A4B8815-1463-4BB0-B626-12094D0AA1A9}"/>
          </ac:spMkLst>
        </pc:spChg>
        <pc:graphicFrameChg chg="mod">
          <ac:chgData name="Meyer Raphael (KOM-PGA-VSF)" userId="79615dfe-ed48-4e74-a40f-4f7b034c1c27" providerId="ADAL" clId="{96D77013-12DF-4911-886E-DED6CCA30677}" dt="2020-10-30T14:56:46.828" v="417"/>
          <ac:graphicFrameMkLst>
            <pc:docMk/>
            <pc:sldMk cId="1495152177" sldId="298"/>
            <ac:graphicFrameMk id="5" creationId="{4CF6AB8B-CAB9-4C7E-8E59-E00357A4D7F0}"/>
          </ac:graphicFrameMkLst>
        </pc:graphicFrameChg>
        <pc:graphicFrameChg chg="del">
          <ac:chgData name="Meyer Raphael (KOM-PGA-VSF)" userId="79615dfe-ed48-4e74-a40f-4f7b034c1c27" providerId="ADAL" clId="{96D77013-12DF-4911-886E-DED6CCA30677}" dt="2020-10-30T14:38:26.393" v="249" actId="478"/>
          <ac:graphicFrameMkLst>
            <pc:docMk/>
            <pc:sldMk cId="1495152177" sldId="298"/>
            <ac:graphicFrameMk id="6" creationId="{60571ECF-B349-4A7D-BB52-C93BE55CD5F3}"/>
          </ac:graphicFrameMkLst>
        </pc:graphicFrameChg>
        <pc:cxnChg chg="add mod">
          <ac:chgData name="Meyer Raphael (KOM-PGA-VSF)" userId="79615dfe-ed48-4e74-a40f-4f7b034c1c27" providerId="ADAL" clId="{96D77013-12DF-4911-886E-DED6CCA30677}" dt="2020-10-30T14:49:55.288" v="329" actId="692"/>
          <ac:cxnSpMkLst>
            <pc:docMk/>
            <pc:sldMk cId="1495152177" sldId="298"/>
            <ac:cxnSpMk id="13" creationId="{B728F4DE-8CC6-4054-BA1D-EBF2119A4EBB}"/>
          </ac:cxnSpMkLst>
        </pc:cxnChg>
        <pc:cxnChg chg="add mod">
          <ac:chgData name="Meyer Raphael (KOM-PGA-VSF)" userId="79615dfe-ed48-4e74-a40f-4f7b034c1c27" providerId="ADAL" clId="{96D77013-12DF-4911-886E-DED6CCA30677}" dt="2020-10-30T14:56:16.344" v="409" actId="14100"/>
          <ac:cxnSpMkLst>
            <pc:docMk/>
            <pc:sldMk cId="1495152177" sldId="298"/>
            <ac:cxnSpMk id="17" creationId="{FC62769B-4223-45AE-B088-516EBE8DECCF}"/>
          </ac:cxnSpMkLst>
        </pc:cxnChg>
      </pc:sldChg>
      <pc:sldChg chg="addSp delSp modSp add del modTransition">
        <pc:chgData name="Meyer Raphael (KOM-PGA-VSF)" userId="79615dfe-ed48-4e74-a40f-4f7b034c1c27" providerId="ADAL" clId="{96D77013-12DF-4911-886E-DED6CCA30677}" dt="2020-11-17T07:47:32.047" v="942" actId="2696"/>
        <pc:sldMkLst>
          <pc:docMk/>
          <pc:sldMk cId="2857925706" sldId="299"/>
        </pc:sldMkLst>
        <pc:spChg chg="mod">
          <ac:chgData name="Meyer Raphael (KOM-PGA-VSF)" userId="79615dfe-ed48-4e74-a40f-4f7b034c1c27" providerId="ADAL" clId="{96D77013-12DF-4911-886E-DED6CCA30677}" dt="2020-11-13T12:44:15.160" v="641" actId="20577"/>
          <ac:spMkLst>
            <pc:docMk/>
            <pc:sldMk cId="2857925706" sldId="299"/>
            <ac:spMk id="2" creationId="{81038B16-E406-45E6-A6A5-77762D042816}"/>
          </ac:spMkLst>
        </pc:spChg>
        <pc:spChg chg="del">
          <ac:chgData name="Meyer Raphael (KOM-PGA-VSF)" userId="79615dfe-ed48-4e74-a40f-4f7b034c1c27" providerId="ADAL" clId="{96D77013-12DF-4911-886E-DED6CCA30677}" dt="2020-11-13T10:20:13.916" v="519" actId="478"/>
          <ac:spMkLst>
            <pc:docMk/>
            <pc:sldMk cId="2857925706" sldId="299"/>
            <ac:spMk id="3" creationId="{0CCFE15B-29DC-48F4-BEFD-EE39FCE2CCB3}"/>
          </ac:spMkLst>
        </pc:spChg>
        <pc:picChg chg="add mod">
          <ac:chgData name="Meyer Raphael (KOM-PGA-VSF)" userId="79615dfe-ed48-4e74-a40f-4f7b034c1c27" providerId="ADAL" clId="{96D77013-12DF-4911-886E-DED6CCA30677}" dt="2020-11-13T10:20:39.687" v="522" actId="1076"/>
          <ac:picMkLst>
            <pc:docMk/>
            <pc:sldMk cId="2857925706" sldId="299"/>
            <ac:picMk id="4" creationId="{EC7D5083-9BDA-4D74-A5F4-CBFCE6FB3188}"/>
          </ac:picMkLst>
        </pc:picChg>
      </pc:sldChg>
      <pc:sldChg chg="addSp delSp modSp add del modTransition">
        <pc:chgData name="Meyer Raphael (KOM-PGA-VSF)" userId="79615dfe-ed48-4e74-a40f-4f7b034c1c27" providerId="ADAL" clId="{96D77013-12DF-4911-886E-DED6CCA30677}" dt="2020-11-17T07:47:33.793" v="943" actId="2696"/>
        <pc:sldMkLst>
          <pc:docMk/>
          <pc:sldMk cId="394607211" sldId="300"/>
        </pc:sldMkLst>
        <pc:spChg chg="mod">
          <ac:chgData name="Meyer Raphael (KOM-PGA-VSF)" userId="79615dfe-ed48-4e74-a40f-4f7b034c1c27" providerId="ADAL" clId="{96D77013-12DF-4911-886E-DED6CCA30677}" dt="2020-11-13T12:44:07.984" v="627" actId="20577"/>
          <ac:spMkLst>
            <pc:docMk/>
            <pc:sldMk cId="394607211" sldId="300"/>
            <ac:spMk id="2" creationId="{9756FC1E-A507-4005-A4F1-10A9CF677E6B}"/>
          </ac:spMkLst>
        </pc:spChg>
        <pc:spChg chg="del">
          <ac:chgData name="Meyer Raphael (KOM-PGA-VSF)" userId="79615dfe-ed48-4e74-a40f-4f7b034c1c27" providerId="ADAL" clId="{96D77013-12DF-4911-886E-DED6CCA30677}" dt="2020-11-13T10:27:18.702" v="525" actId="478"/>
          <ac:spMkLst>
            <pc:docMk/>
            <pc:sldMk cId="394607211" sldId="300"/>
            <ac:spMk id="3" creationId="{AF6057A0-CC6B-401B-B6C9-C927BAE3A639}"/>
          </ac:spMkLst>
        </pc:spChg>
        <pc:picChg chg="add mod">
          <ac:chgData name="Meyer Raphael (KOM-PGA-VSF)" userId="79615dfe-ed48-4e74-a40f-4f7b034c1c27" providerId="ADAL" clId="{96D77013-12DF-4911-886E-DED6CCA30677}" dt="2020-11-13T10:27:22.709" v="527" actId="14100"/>
          <ac:picMkLst>
            <pc:docMk/>
            <pc:sldMk cId="394607211" sldId="300"/>
            <ac:picMk id="4" creationId="{FA432D02-F1A0-4AE5-BEB8-C19D1B48CF36}"/>
          </ac:picMkLst>
        </pc:picChg>
      </pc:sldChg>
      <pc:sldChg chg="addSp modSp add ord modTransition">
        <pc:chgData name="Meyer Raphael (KOM-PGA-VSF)" userId="79615dfe-ed48-4e74-a40f-4f7b034c1c27" providerId="ADAL" clId="{96D77013-12DF-4911-886E-DED6CCA30677}" dt="2020-11-17T07:40:59.497" v="910"/>
        <pc:sldMkLst>
          <pc:docMk/>
          <pc:sldMk cId="1794381502" sldId="301"/>
        </pc:sldMkLst>
        <pc:spChg chg="mod">
          <ac:chgData name="Meyer Raphael (KOM-PGA-VSF)" userId="79615dfe-ed48-4e74-a40f-4f7b034c1c27" providerId="ADAL" clId="{96D77013-12DF-4911-886E-DED6CCA30677}" dt="2020-11-13T12:28:38.603" v="551" actId="20577"/>
          <ac:spMkLst>
            <pc:docMk/>
            <pc:sldMk cId="1794381502" sldId="301"/>
            <ac:spMk id="2" creationId="{A2DC317F-F1F4-4624-8FC1-3B68C1DBB3DA}"/>
          </ac:spMkLst>
        </pc:spChg>
        <pc:spChg chg="add mod">
          <ac:chgData name="Meyer Raphael (KOM-PGA-VSF)" userId="79615dfe-ed48-4e74-a40f-4f7b034c1c27" providerId="ADAL" clId="{96D77013-12DF-4911-886E-DED6CCA30677}" dt="2020-11-16T12:58:27.730" v="890" actId="14100"/>
          <ac:spMkLst>
            <pc:docMk/>
            <pc:sldMk cId="1794381502" sldId="301"/>
            <ac:spMk id="4" creationId="{DD1AED53-67C2-4736-A0FC-13C9756ED56F}"/>
          </ac:spMkLst>
        </pc:spChg>
        <pc:spChg chg="mod">
          <ac:chgData name="Meyer Raphael (KOM-PGA-VSF)" userId="79615dfe-ed48-4e74-a40f-4f7b034c1c27" providerId="ADAL" clId="{96D77013-12DF-4911-886E-DED6CCA30677}" dt="2020-11-16T13:16:49.371" v="909" actId="1076"/>
          <ac:spMkLst>
            <pc:docMk/>
            <pc:sldMk cId="1794381502" sldId="301"/>
            <ac:spMk id="8" creationId="{B6DF2E20-66B6-43FF-BD5C-488FAFC28EE4}"/>
          </ac:spMkLst>
        </pc:spChg>
        <pc:spChg chg="mod">
          <ac:chgData name="Meyer Raphael (KOM-PGA-VSF)" userId="79615dfe-ed48-4e74-a40f-4f7b034c1c27" providerId="ADAL" clId="{96D77013-12DF-4911-886E-DED6CCA30677}" dt="2020-11-13T12:28:50.419" v="561" actId="20577"/>
          <ac:spMkLst>
            <pc:docMk/>
            <pc:sldMk cId="1794381502" sldId="301"/>
            <ac:spMk id="10" creationId="{077DFD58-E5EE-4B68-9325-D935DB04DD40}"/>
          </ac:spMkLst>
        </pc:spChg>
        <pc:spChg chg="add mod">
          <ac:chgData name="Meyer Raphael (KOM-PGA-VSF)" userId="79615dfe-ed48-4e74-a40f-4f7b034c1c27" providerId="ADAL" clId="{96D77013-12DF-4911-886E-DED6CCA30677}" dt="2020-11-16T12:59:09.661" v="908" actId="20577"/>
          <ac:spMkLst>
            <pc:docMk/>
            <pc:sldMk cId="1794381502" sldId="301"/>
            <ac:spMk id="12" creationId="{9BE5D2CD-A67D-4F17-BA1D-B6A27E5681C6}"/>
          </ac:spMkLst>
        </pc:spChg>
        <pc:cxnChg chg="add mod">
          <ac:chgData name="Meyer Raphael (KOM-PGA-VSF)" userId="79615dfe-ed48-4e74-a40f-4f7b034c1c27" providerId="ADAL" clId="{96D77013-12DF-4911-886E-DED6CCA30677}" dt="2020-11-16T12:57:59.177" v="873" actId="14100"/>
          <ac:cxnSpMkLst>
            <pc:docMk/>
            <pc:sldMk cId="1794381502" sldId="301"/>
            <ac:cxnSpMk id="11" creationId="{C0CD2DE0-32DF-43C1-88A0-8090F1AADDFB}"/>
          </ac:cxnSpMkLst>
        </pc:cxnChg>
      </pc:sldChg>
      <pc:sldChg chg="addSp delSp modSp add modTransition">
        <pc:chgData name="Meyer Raphael (KOM-PGA-VSF)" userId="79615dfe-ed48-4e74-a40f-4f7b034c1c27" providerId="ADAL" clId="{96D77013-12DF-4911-886E-DED6CCA30677}" dt="2020-11-13T14:59:51.850" v="866"/>
        <pc:sldMkLst>
          <pc:docMk/>
          <pc:sldMk cId="2829123890" sldId="302"/>
        </pc:sldMkLst>
        <pc:spChg chg="mod">
          <ac:chgData name="Meyer Raphael (KOM-PGA-VSF)" userId="79615dfe-ed48-4e74-a40f-4f7b034c1c27" providerId="ADAL" clId="{96D77013-12DF-4911-886E-DED6CCA30677}" dt="2020-11-13T12:48:16.234" v="669" actId="20577"/>
          <ac:spMkLst>
            <pc:docMk/>
            <pc:sldMk cId="2829123890" sldId="302"/>
            <ac:spMk id="2" creationId="{635DB0D4-4CC1-414B-81B2-EE0D3584C6DE}"/>
          </ac:spMkLst>
        </pc:spChg>
        <pc:spChg chg="del">
          <ac:chgData name="Meyer Raphael (KOM-PGA-VSF)" userId="79615dfe-ed48-4e74-a40f-4f7b034c1c27" providerId="ADAL" clId="{96D77013-12DF-4911-886E-DED6CCA30677}" dt="2020-11-13T12:43:21.636" v="565" actId="478"/>
          <ac:spMkLst>
            <pc:docMk/>
            <pc:sldMk cId="2829123890" sldId="302"/>
            <ac:spMk id="3" creationId="{66736F92-B012-4B5C-BFC1-D7B538C36870}"/>
          </ac:spMkLst>
        </pc:spChg>
        <pc:picChg chg="add mod">
          <ac:chgData name="Meyer Raphael (KOM-PGA-VSF)" userId="79615dfe-ed48-4e74-a40f-4f7b034c1c27" providerId="ADAL" clId="{96D77013-12DF-4911-886E-DED6CCA30677}" dt="2020-11-13T12:47:55.165" v="642" actId="1076"/>
          <ac:picMkLst>
            <pc:docMk/>
            <pc:sldMk cId="2829123890" sldId="302"/>
            <ac:picMk id="4" creationId="{A6D7396B-82C2-4818-81A6-716C0CCA1223}"/>
          </ac:picMkLst>
        </pc:picChg>
        <pc:inkChg chg="add">
          <ac:chgData name="Meyer Raphael (KOM-PGA-VSF)" userId="79615dfe-ed48-4e74-a40f-4f7b034c1c27" providerId="ADAL" clId="{96D77013-12DF-4911-886E-DED6CCA30677}" dt="2020-11-13T12:48:43.042" v="670" actId="9405"/>
          <ac:inkMkLst>
            <pc:docMk/>
            <pc:sldMk cId="2829123890" sldId="302"/>
            <ac:inkMk id="5" creationId="{A1F31124-6690-488F-BEE8-03472907467D}"/>
          </ac:inkMkLst>
        </pc:inkChg>
      </pc:sldChg>
      <pc:sldChg chg="addSp delSp modSp add modTransition">
        <pc:chgData name="Meyer Raphael (KOM-PGA-VSF)" userId="79615dfe-ed48-4e74-a40f-4f7b034c1c27" providerId="ADAL" clId="{96D77013-12DF-4911-886E-DED6CCA30677}" dt="2020-11-13T14:59:55.068" v="867"/>
        <pc:sldMkLst>
          <pc:docMk/>
          <pc:sldMk cId="220263692" sldId="303"/>
        </pc:sldMkLst>
        <pc:spChg chg="mod">
          <ac:chgData name="Meyer Raphael (KOM-PGA-VSF)" userId="79615dfe-ed48-4e74-a40f-4f7b034c1c27" providerId="ADAL" clId="{96D77013-12DF-4911-886E-DED6CCA30677}" dt="2020-11-13T12:50:28.060" v="707" actId="20577"/>
          <ac:spMkLst>
            <pc:docMk/>
            <pc:sldMk cId="220263692" sldId="303"/>
            <ac:spMk id="2" creationId="{3D6DD22C-2650-49D4-BB4F-2EA1E69087A7}"/>
          </ac:spMkLst>
        </pc:spChg>
        <pc:spChg chg="del">
          <ac:chgData name="Meyer Raphael (KOM-PGA-VSF)" userId="79615dfe-ed48-4e74-a40f-4f7b034c1c27" providerId="ADAL" clId="{96D77013-12DF-4911-886E-DED6CCA30677}" dt="2020-11-13T12:50:33.733" v="708" actId="478"/>
          <ac:spMkLst>
            <pc:docMk/>
            <pc:sldMk cId="220263692" sldId="303"/>
            <ac:spMk id="3" creationId="{15FA5AD1-9FA4-40B9-9265-A0A90B934551}"/>
          </ac:spMkLst>
        </pc:spChg>
        <pc:spChg chg="add mod">
          <ac:chgData name="Meyer Raphael (KOM-PGA-VSF)" userId="79615dfe-ed48-4e74-a40f-4f7b034c1c27" providerId="ADAL" clId="{96D77013-12DF-4911-886E-DED6CCA30677}" dt="2020-11-13T12:53:23.413" v="762" actId="20577"/>
          <ac:spMkLst>
            <pc:docMk/>
            <pc:sldMk cId="220263692" sldId="303"/>
            <ac:spMk id="6" creationId="{115FFA75-0FB4-4EDC-B269-8FC01449D209}"/>
          </ac:spMkLst>
        </pc:spChg>
        <pc:spChg chg="add mod">
          <ac:chgData name="Meyer Raphael (KOM-PGA-VSF)" userId="79615dfe-ed48-4e74-a40f-4f7b034c1c27" providerId="ADAL" clId="{96D77013-12DF-4911-886E-DED6CCA30677}" dt="2020-11-13T12:51:35.828" v="736" actId="20577"/>
          <ac:spMkLst>
            <pc:docMk/>
            <pc:sldMk cId="220263692" sldId="303"/>
            <ac:spMk id="8" creationId="{70EB3E2A-BBAE-4F62-AB46-F7429AD69DEC}"/>
          </ac:spMkLst>
        </pc:spChg>
        <pc:spChg chg="add">
          <ac:chgData name="Meyer Raphael (KOM-PGA-VSF)" userId="79615dfe-ed48-4e74-a40f-4f7b034c1c27" providerId="ADAL" clId="{96D77013-12DF-4911-886E-DED6CCA30677}" dt="2020-11-13T12:51:42.618" v="737"/>
          <ac:spMkLst>
            <pc:docMk/>
            <pc:sldMk cId="220263692" sldId="303"/>
            <ac:spMk id="9" creationId="{2C399D9A-E2CF-49F0-81FA-67443E9208C1}"/>
          </ac:spMkLst>
        </pc:spChg>
        <pc:spChg chg="add mod">
          <ac:chgData name="Meyer Raphael (KOM-PGA-VSF)" userId="79615dfe-ed48-4e74-a40f-4f7b034c1c27" providerId="ADAL" clId="{96D77013-12DF-4911-886E-DED6CCA30677}" dt="2020-11-13T12:53:26.756" v="766" actId="20577"/>
          <ac:spMkLst>
            <pc:docMk/>
            <pc:sldMk cId="220263692" sldId="303"/>
            <ac:spMk id="10" creationId="{73E1F4CA-61A6-48EE-9D1B-42BBEDF8AF09}"/>
          </ac:spMkLst>
        </pc:spChg>
        <pc:picChg chg="add mod">
          <ac:chgData name="Meyer Raphael (KOM-PGA-VSF)" userId="79615dfe-ed48-4e74-a40f-4f7b034c1c27" providerId="ADAL" clId="{96D77013-12DF-4911-886E-DED6CCA30677}" dt="2020-11-13T12:50:49.231" v="726" actId="14100"/>
          <ac:picMkLst>
            <pc:docMk/>
            <pc:sldMk cId="220263692" sldId="303"/>
            <ac:picMk id="5" creationId="{A732FA37-C035-4240-B571-18EFF4DB6E6F}"/>
          </ac:picMkLst>
        </pc:picChg>
        <pc:picChg chg="add mod">
          <ac:chgData name="Meyer Raphael (KOM-PGA-VSF)" userId="79615dfe-ed48-4e74-a40f-4f7b034c1c27" providerId="ADAL" clId="{96D77013-12DF-4911-886E-DED6CCA30677}" dt="2020-11-13T12:51:27.152" v="730" actId="1076"/>
          <ac:picMkLst>
            <pc:docMk/>
            <pc:sldMk cId="220263692" sldId="303"/>
            <ac:picMk id="7" creationId="{B03252A1-852C-4496-BF1E-5B09E124D414}"/>
          </ac:picMkLst>
        </pc:picChg>
        <pc:picChg chg="add mod">
          <ac:chgData name="Meyer Raphael (KOM-PGA-VSF)" userId="79615dfe-ed48-4e74-a40f-4f7b034c1c27" providerId="ADAL" clId="{96D77013-12DF-4911-886E-DED6CCA30677}" dt="2020-11-13T12:52:20.889" v="745" actId="1076"/>
          <ac:picMkLst>
            <pc:docMk/>
            <pc:sldMk cId="220263692" sldId="303"/>
            <ac:picMk id="11" creationId="{CC9DDBE7-AC46-47A5-B2C1-1DE6F571ECD3}"/>
          </ac:picMkLst>
        </pc:picChg>
        <pc:picChg chg="add mod">
          <ac:chgData name="Meyer Raphael (KOM-PGA-VSF)" userId="79615dfe-ed48-4e74-a40f-4f7b034c1c27" providerId="ADAL" clId="{96D77013-12DF-4911-886E-DED6CCA30677}" dt="2020-11-13T12:52:59.057" v="758" actId="14100"/>
          <ac:picMkLst>
            <pc:docMk/>
            <pc:sldMk cId="220263692" sldId="303"/>
            <ac:picMk id="12" creationId="{896A26EB-136C-44D6-97F9-200136209B45}"/>
          </ac:picMkLst>
        </pc:picChg>
        <pc:inkChg chg="add">
          <ac:chgData name="Meyer Raphael (KOM-PGA-VSF)" userId="79615dfe-ed48-4e74-a40f-4f7b034c1c27" providerId="ADAL" clId="{96D77013-12DF-4911-886E-DED6CCA30677}" dt="2020-11-13T12:50:13.780" v="672" actId="9405"/>
          <ac:inkMkLst>
            <pc:docMk/>
            <pc:sldMk cId="220263692" sldId="303"/>
            <ac:inkMk id="4" creationId="{1312D395-7FB4-4140-8983-C54F21276430}"/>
          </ac:inkMkLst>
        </pc:inkChg>
      </pc:sldChg>
      <pc:sldChg chg="add">
        <pc:chgData name="Meyer Raphael (KOM-PGA-VSF)" userId="79615dfe-ed48-4e74-a40f-4f7b034c1c27" providerId="ADAL" clId="{96D77013-12DF-4911-886E-DED6CCA30677}" dt="2020-11-17T07:48:07.737" v="944"/>
        <pc:sldMkLst>
          <pc:docMk/>
          <pc:sldMk cId="4199929677" sldId="304"/>
        </pc:sldMkLst>
      </pc:sldChg>
      <pc:sldChg chg="addSp delSp modSp add del mod">
        <pc:chgData name="Meyer Raphael (KOM-PGA-VSF)" userId="79615dfe-ed48-4e74-a40f-4f7b034c1c27" providerId="ADAL" clId="{96D77013-12DF-4911-886E-DED6CCA30677}" dt="2020-11-18T15:24:54.926" v="3213" actId="2696"/>
        <pc:sldMkLst>
          <pc:docMk/>
          <pc:sldMk cId="3508847299" sldId="305"/>
        </pc:sldMkLst>
        <pc:spChg chg="del">
          <ac:chgData name="Meyer Raphael (KOM-PGA-VSF)" userId="79615dfe-ed48-4e74-a40f-4f7b034c1c27" providerId="ADAL" clId="{96D77013-12DF-4911-886E-DED6CCA30677}" dt="2020-11-17T08:28:13.207" v="979" actId="478"/>
          <ac:spMkLst>
            <pc:docMk/>
            <pc:sldMk cId="3508847299" sldId="305"/>
            <ac:spMk id="3" creationId="{103D4EC1-0492-4E71-9FEE-5436CB95B92C}"/>
          </ac:spMkLst>
        </pc:spChg>
        <pc:graphicFrameChg chg="del mod">
          <ac:chgData name="Meyer Raphael (KOM-PGA-VSF)" userId="79615dfe-ed48-4e74-a40f-4f7b034c1c27" providerId="ADAL" clId="{96D77013-12DF-4911-886E-DED6CCA30677}" dt="2020-11-17T08:28:45.006" v="980" actId="478"/>
          <ac:graphicFrameMkLst>
            <pc:docMk/>
            <pc:sldMk cId="3508847299" sldId="305"/>
            <ac:graphicFrameMk id="4" creationId="{9291C84A-4C97-461D-9B46-B7F6D5740BFC}"/>
          </ac:graphicFrameMkLst>
        </pc:graphicFrameChg>
        <pc:graphicFrameChg chg="del">
          <ac:chgData name="Meyer Raphael (KOM-PGA-VSF)" userId="79615dfe-ed48-4e74-a40f-4f7b034c1c27" providerId="ADAL" clId="{96D77013-12DF-4911-886E-DED6CCA30677}" dt="2020-11-17T08:28:46.509" v="981" actId="478"/>
          <ac:graphicFrameMkLst>
            <pc:docMk/>
            <pc:sldMk cId="3508847299" sldId="305"/>
            <ac:graphicFrameMk id="5" creationId="{2E9894B6-5EFD-4731-A89F-8F4180C9963B}"/>
          </ac:graphicFrameMkLst>
        </pc:graphicFrameChg>
        <pc:graphicFrameChg chg="del mod">
          <ac:chgData name="Meyer Raphael (KOM-PGA-VSF)" userId="79615dfe-ed48-4e74-a40f-4f7b034c1c27" providerId="ADAL" clId="{96D77013-12DF-4911-886E-DED6CCA30677}" dt="2020-11-17T08:28:49.814" v="983" actId="478"/>
          <ac:graphicFrameMkLst>
            <pc:docMk/>
            <pc:sldMk cId="3508847299" sldId="305"/>
            <ac:graphicFrameMk id="6" creationId="{31B4DEAA-DBA9-4022-9F5D-6589639B9B82}"/>
          </ac:graphicFrameMkLst>
        </pc:graphicFrameChg>
        <pc:graphicFrameChg chg="del">
          <ac:chgData name="Meyer Raphael (KOM-PGA-VSF)" userId="79615dfe-ed48-4e74-a40f-4f7b034c1c27" providerId="ADAL" clId="{96D77013-12DF-4911-886E-DED6CCA30677}" dt="2020-11-17T08:28:48.011" v="982" actId="478"/>
          <ac:graphicFrameMkLst>
            <pc:docMk/>
            <pc:sldMk cId="3508847299" sldId="305"/>
            <ac:graphicFrameMk id="7" creationId="{88A895FC-410D-4AE5-A635-9F2D1FD0026F}"/>
          </ac:graphicFrameMkLst>
        </pc:graphicFrameChg>
        <pc:graphicFrameChg chg="add del">
          <ac:chgData name="Meyer Raphael (KOM-PGA-VSF)" userId="79615dfe-ed48-4e74-a40f-4f7b034c1c27" providerId="ADAL" clId="{96D77013-12DF-4911-886E-DED6CCA30677}" dt="2020-11-17T08:29:34.174" v="989" actId="478"/>
          <ac:graphicFrameMkLst>
            <pc:docMk/>
            <pc:sldMk cId="3508847299" sldId="305"/>
            <ac:graphicFrameMk id="8" creationId="{9291C84A-4C97-461D-9B46-B7F6D5740BFC}"/>
          </ac:graphicFrameMkLst>
        </pc:graphicFrameChg>
        <pc:graphicFrameChg chg="add del">
          <ac:chgData name="Meyer Raphael (KOM-PGA-VSF)" userId="79615dfe-ed48-4e74-a40f-4f7b034c1c27" providerId="ADAL" clId="{96D77013-12DF-4911-886E-DED6CCA30677}" dt="2020-11-17T08:29:36.403" v="990" actId="478"/>
          <ac:graphicFrameMkLst>
            <pc:docMk/>
            <pc:sldMk cId="3508847299" sldId="305"/>
            <ac:graphicFrameMk id="9" creationId="{2E9894B6-5EFD-4731-A89F-8F4180C9963B}"/>
          </ac:graphicFrameMkLst>
        </pc:graphicFrameChg>
        <pc:graphicFrameChg chg="add del mod">
          <ac:chgData name="Meyer Raphael (KOM-PGA-VSF)" userId="79615dfe-ed48-4e74-a40f-4f7b034c1c27" providerId="ADAL" clId="{96D77013-12DF-4911-886E-DED6CCA30677}" dt="2020-11-17T08:29:39.371" v="993" actId="478"/>
          <ac:graphicFrameMkLst>
            <pc:docMk/>
            <pc:sldMk cId="3508847299" sldId="305"/>
            <ac:graphicFrameMk id="10" creationId="{31B4DEAA-DBA9-4022-9F5D-6589639B9B82}"/>
          </ac:graphicFrameMkLst>
        </pc:graphicFrameChg>
        <pc:graphicFrameChg chg="add del">
          <ac:chgData name="Meyer Raphael (KOM-PGA-VSF)" userId="79615dfe-ed48-4e74-a40f-4f7b034c1c27" providerId="ADAL" clId="{96D77013-12DF-4911-886E-DED6CCA30677}" dt="2020-11-17T08:29:37.953" v="991" actId="478"/>
          <ac:graphicFrameMkLst>
            <pc:docMk/>
            <pc:sldMk cId="3508847299" sldId="305"/>
            <ac:graphicFrameMk id="11" creationId="{88A895FC-410D-4AE5-A635-9F2D1FD0026F}"/>
          </ac:graphicFrameMkLst>
        </pc:graphicFrameChg>
        <pc:graphicFrameChg chg="add del mod">
          <ac:chgData name="Meyer Raphael (KOM-PGA-VSF)" userId="79615dfe-ed48-4e74-a40f-4f7b034c1c27" providerId="ADAL" clId="{96D77013-12DF-4911-886E-DED6CCA30677}" dt="2020-11-17T08:30:58.985" v="1008" actId="478"/>
          <ac:graphicFrameMkLst>
            <pc:docMk/>
            <pc:sldMk cId="3508847299" sldId="305"/>
            <ac:graphicFrameMk id="14" creationId="{9C5C5DDE-D6ED-4BBE-B2A5-7A22EE55D284}"/>
          </ac:graphicFrameMkLst>
        </pc:graphicFrameChg>
        <pc:graphicFrameChg chg="add del mod">
          <ac:chgData name="Meyer Raphael (KOM-PGA-VSF)" userId="79615dfe-ed48-4e74-a40f-4f7b034c1c27" providerId="ADAL" clId="{96D77013-12DF-4911-886E-DED6CCA30677}" dt="2020-11-17T08:30:56.929" v="1007" actId="478"/>
          <ac:graphicFrameMkLst>
            <pc:docMk/>
            <pc:sldMk cId="3508847299" sldId="305"/>
            <ac:graphicFrameMk id="15" creationId="{8C5E844F-B42F-466A-B7EC-27886D40BEC4}"/>
          </ac:graphicFrameMkLst>
        </pc:graphicFrameChg>
      </pc:sldChg>
      <pc:sldChg chg="addSp delSp modSp add mod ord modTransition addCm delCm">
        <pc:chgData name="Meyer Raphael (KOM-PGA-VSF)" userId="79615dfe-ed48-4e74-a40f-4f7b034c1c27" providerId="ADAL" clId="{96D77013-12DF-4911-886E-DED6CCA30677}" dt="2020-12-16T10:31:07.110" v="3985" actId="27918"/>
        <pc:sldMkLst>
          <pc:docMk/>
          <pc:sldMk cId="1667945532" sldId="306"/>
        </pc:sldMkLst>
        <pc:spChg chg="mod">
          <ac:chgData name="Meyer Raphael (KOM-PGA-VSF)" userId="79615dfe-ed48-4e74-a40f-4f7b034c1c27" providerId="ADAL" clId="{96D77013-12DF-4911-886E-DED6CCA30677}" dt="2020-11-17T15:01:21.422" v="1927" actId="6549"/>
          <ac:spMkLst>
            <pc:docMk/>
            <pc:sldMk cId="1667945532" sldId="306"/>
            <ac:spMk id="2" creationId="{A2DC317F-F1F4-4624-8FC1-3B68C1DBB3DA}"/>
          </ac:spMkLst>
        </pc:spChg>
        <pc:spChg chg="add del mod">
          <ac:chgData name="Meyer Raphael (KOM-PGA-VSF)" userId="79615dfe-ed48-4e74-a40f-4f7b034c1c27" providerId="ADAL" clId="{96D77013-12DF-4911-886E-DED6CCA30677}" dt="2020-11-18T09:38:30.360" v="2630" actId="478"/>
          <ac:spMkLst>
            <pc:docMk/>
            <pc:sldMk cId="1667945532" sldId="306"/>
            <ac:spMk id="3" creationId="{10790799-4385-4767-B27E-F2CC29801A6B}"/>
          </ac:spMkLst>
        </pc:spChg>
        <pc:spChg chg="mod">
          <ac:chgData name="Meyer Raphael (KOM-PGA-VSF)" userId="79615dfe-ed48-4e74-a40f-4f7b034c1c27" providerId="ADAL" clId="{96D77013-12DF-4911-886E-DED6CCA30677}" dt="2020-12-02T10:40:13.706" v="3492" actId="20577"/>
          <ac:spMkLst>
            <pc:docMk/>
            <pc:sldMk cId="1667945532" sldId="306"/>
            <ac:spMk id="4" creationId="{FE424811-9A99-46D3-9443-AAB22DAEAB5A}"/>
          </ac:spMkLst>
        </pc:spChg>
        <pc:spChg chg="mod">
          <ac:chgData name="Meyer Raphael (KOM-PGA-VSF)" userId="79615dfe-ed48-4e74-a40f-4f7b034c1c27" providerId="ADAL" clId="{96D77013-12DF-4911-886E-DED6CCA30677}" dt="2020-11-17T15:44:21.851" v="2342" actId="14100"/>
          <ac:spMkLst>
            <pc:docMk/>
            <pc:sldMk cId="1667945532" sldId="306"/>
            <ac:spMk id="7" creationId="{BA3F9A72-0541-4D1F-8CD8-1C2B8074FA1B}"/>
          </ac:spMkLst>
        </pc:spChg>
        <pc:spChg chg="add mod">
          <ac:chgData name="Meyer Raphael (KOM-PGA-VSF)" userId="79615dfe-ed48-4e74-a40f-4f7b034c1c27" providerId="ADAL" clId="{96D77013-12DF-4911-886E-DED6CCA30677}" dt="2020-12-16T09:58:22.958" v="3947" actId="20577"/>
          <ac:spMkLst>
            <pc:docMk/>
            <pc:sldMk cId="1667945532" sldId="306"/>
            <ac:spMk id="8" creationId="{5857C2A1-2CB8-4D4A-AEFD-E809BF73D04F}"/>
          </ac:spMkLst>
        </pc:spChg>
        <pc:spChg chg="mod">
          <ac:chgData name="Meyer Raphael (KOM-PGA-VSF)" userId="79615dfe-ed48-4e74-a40f-4f7b034c1c27" providerId="ADAL" clId="{96D77013-12DF-4911-886E-DED6CCA30677}" dt="2020-11-17T15:44:24.993" v="2343" actId="14100"/>
          <ac:spMkLst>
            <pc:docMk/>
            <pc:sldMk cId="1667945532" sldId="306"/>
            <ac:spMk id="9" creationId="{B6990B61-32B2-4ADC-BF01-EDF7B4080F97}"/>
          </ac:spMkLst>
        </pc:spChg>
        <pc:spChg chg="mod">
          <ac:chgData name="Meyer Raphael (KOM-PGA-VSF)" userId="79615dfe-ed48-4e74-a40f-4f7b034c1c27" providerId="ADAL" clId="{96D77013-12DF-4911-886E-DED6CCA30677}" dt="2020-11-17T15:02:01.973" v="1983" actId="20577"/>
          <ac:spMkLst>
            <pc:docMk/>
            <pc:sldMk cId="1667945532" sldId="306"/>
            <ac:spMk id="10" creationId="{077DFD58-E5EE-4B68-9325-D935DB04DD40}"/>
          </ac:spMkLst>
        </pc:spChg>
        <pc:spChg chg="add del mod">
          <ac:chgData name="Meyer Raphael (KOM-PGA-VSF)" userId="79615dfe-ed48-4e74-a40f-4f7b034c1c27" providerId="ADAL" clId="{96D77013-12DF-4911-886E-DED6CCA30677}" dt="2020-11-17T13:09:54.211" v="1646" actId="478"/>
          <ac:spMkLst>
            <pc:docMk/>
            <pc:sldMk cId="1667945532" sldId="306"/>
            <ac:spMk id="12" creationId="{C0AB8CF7-2416-4D54-AB32-055AE806E5A6}"/>
          </ac:spMkLst>
        </pc:spChg>
        <pc:spChg chg="del mod">
          <ac:chgData name="Meyer Raphael (KOM-PGA-VSF)" userId="79615dfe-ed48-4e74-a40f-4f7b034c1c27" providerId="ADAL" clId="{96D77013-12DF-4911-886E-DED6CCA30677}" dt="2020-11-17T14:51:36.450" v="1796" actId="478"/>
          <ac:spMkLst>
            <pc:docMk/>
            <pc:sldMk cId="1667945532" sldId="306"/>
            <ac:spMk id="13" creationId="{5F25AD10-BAC9-4E8D-A3B3-3F3B37120D18}"/>
          </ac:spMkLst>
        </pc:spChg>
        <pc:spChg chg="del mod">
          <ac:chgData name="Meyer Raphael (KOM-PGA-VSF)" userId="79615dfe-ed48-4e74-a40f-4f7b034c1c27" providerId="ADAL" clId="{96D77013-12DF-4911-886E-DED6CCA30677}" dt="2020-11-17T13:09:51.552" v="1645" actId="478"/>
          <ac:spMkLst>
            <pc:docMk/>
            <pc:sldMk cId="1667945532" sldId="306"/>
            <ac:spMk id="15" creationId="{BF705243-783E-4A9E-B41E-B5E5E3EC1E51}"/>
          </ac:spMkLst>
        </pc:spChg>
        <pc:spChg chg="add mod">
          <ac:chgData name="Meyer Raphael (KOM-PGA-VSF)" userId="79615dfe-ed48-4e74-a40f-4f7b034c1c27" providerId="ADAL" clId="{96D77013-12DF-4911-886E-DED6CCA30677}" dt="2020-12-02T10:35:42.248" v="3445" actId="20577"/>
          <ac:spMkLst>
            <pc:docMk/>
            <pc:sldMk cId="1667945532" sldId="306"/>
            <ac:spMk id="17" creationId="{785E740C-F94A-4208-8DFD-63A603C16577}"/>
          </ac:spMkLst>
        </pc:spChg>
        <pc:spChg chg="add del mod">
          <ac:chgData name="Meyer Raphael (KOM-PGA-VSF)" userId="79615dfe-ed48-4e74-a40f-4f7b034c1c27" providerId="ADAL" clId="{96D77013-12DF-4911-886E-DED6CCA30677}" dt="2020-11-17T13:03:26.510" v="1514" actId="478"/>
          <ac:spMkLst>
            <pc:docMk/>
            <pc:sldMk cId="1667945532" sldId="306"/>
            <ac:spMk id="20" creationId="{3EA94C09-EBAD-4FD8-A84A-06FAD3CA5180}"/>
          </ac:spMkLst>
        </pc:spChg>
        <pc:spChg chg="add del mod">
          <ac:chgData name="Meyer Raphael (KOM-PGA-VSF)" userId="79615dfe-ed48-4e74-a40f-4f7b034c1c27" providerId="ADAL" clId="{96D77013-12DF-4911-886E-DED6CCA30677}" dt="2020-11-17T13:12:42.381" v="1669" actId="478"/>
          <ac:spMkLst>
            <pc:docMk/>
            <pc:sldMk cId="1667945532" sldId="306"/>
            <ac:spMk id="21" creationId="{80894E3A-2E77-4BAF-BEB8-AB3C5CCC1544}"/>
          </ac:spMkLst>
        </pc:spChg>
        <pc:spChg chg="add del mod">
          <ac:chgData name="Meyer Raphael (KOM-PGA-VSF)" userId="79615dfe-ed48-4e74-a40f-4f7b034c1c27" providerId="ADAL" clId="{96D77013-12DF-4911-886E-DED6CCA30677}" dt="2020-12-02T10:44:17.053" v="3560" actId="478"/>
          <ac:spMkLst>
            <pc:docMk/>
            <pc:sldMk cId="1667945532" sldId="306"/>
            <ac:spMk id="21" creationId="{EC5D28F0-DE30-4BF9-9229-A24B6644F176}"/>
          </ac:spMkLst>
        </pc:spChg>
        <pc:spChg chg="add">
          <ac:chgData name="Meyer Raphael (KOM-PGA-VSF)" userId="79615dfe-ed48-4e74-a40f-4f7b034c1c27" providerId="ADAL" clId="{96D77013-12DF-4911-886E-DED6CCA30677}" dt="2020-11-18T15:11:18.219" v="3073"/>
          <ac:spMkLst>
            <pc:docMk/>
            <pc:sldMk cId="1667945532" sldId="306"/>
            <ac:spMk id="22" creationId="{A4D052E9-A3D0-4D29-96C0-4125FCB1567B}"/>
          </ac:spMkLst>
        </pc:spChg>
        <pc:spChg chg="add del">
          <ac:chgData name="Meyer Raphael (KOM-PGA-VSF)" userId="79615dfe-ed48-4e74-a40f-4f7b034c1c27" providerId="ADAL" clId="{96D77013-12DF-4911-886E-DED6CCA30677}" dt="2020-11-18T15:14:28.235" v="3184" actId="478"/>
          <ac:spMkLst>
            <pc:docMk/>
            <pc:sldMk cId="1667945532" sldId="306"/>
            <ac:spMk id="23" creationId="{06416C42-B092-4029-992D-975ADB124450}"/>
          </ac:spMkLst>
        </pc:spChg>
        <pc:spChg chg="add">
          <ac:chgData name="Meyer Raphael (KOM-PGA-VSF)" userId="79615dfe-ed48-4e74-a40f-4f7b034c1c27" providerId="ADAL" clId="{96D77013-12DF-4911-886E-DED6CCA30677}" dt="2020-11-18T15:12:13.258" v="3123"/>
          <ac:spMkLst>
            <pc:docMk/>
            <pc:sldMk cId="1667945532" sldId="306"/>
            <ac:spMk id="25" creationId="{9772D52D-035A-4D28-AE3A-4F5DD2C31620}"/>
          </ac:spMkLst>
        </pc:spChg>
        <pc:spChg chg="add mod">
          <ac:chgData name="Meyer Raphael (KOM-PGA-VSF)" userId="79615dfe-ed48-4e74-a40f-4f7b034c1c27" providerId="ADAL" clId="{96D77013-12DF-4911-886E-DED6CCA30677}" dt="2020-12-02T10:37:49.648" v="3466" actId="20577"/>
          <ac:spMkLst>
            <pc:docMk/>
            <pc:sldMk cId="1667945532" sldId="306"/>
            <ac:spMk id="26" creationId="{BFD498B5-D73E-4C8A-9FAF-B3547647538C}"/>
          </ac:spMkLst>
        </pc:spChg>
        <pc:spChg chg="add mod">
          <ac:chgData name="Meyer Raphael (KOM-PGA-VSF)" userId="79615dfe-ed48-4e74-a40f-4f7b034c1c27" providerId="ADAL" clId="{96D77013-12DF-4911-886E-DED6CCA30677}" dt="2020-12-16T09:59:28.110" v="3955" actId="20577"/>
          <ac:spMkLst>
            <pc:docMk/>
            <pc:sldMk cId="1667945532" sldId="306"/>
            <ac:spMk id="27" creationId="{46A6B042-39EE-4A58-BBAA-13D52264B660}"/>
          </ac:spMkLst>
        </pc:spChg>
        <pc:spChg chg="add mod">
          <ac:chgData name="Meyer Raphael (KOM-PGA-VSF)" userId="79615dfe-ed48-4e74-a40f-4f7b034c1c27" providerId="ADAL" clId="{96D77013-12DF-4911-886E-DED6CCA30677}" dt="2020-12-09T12:09:49.306" v="3771" actId="1036"/>
          <ac:spMkLst>
            <pc:docMk/>
            <pc:sldMk cId="1667945532" sldId="306"/>
            <ac:spMk id="28" creationId="{4492A3CD-6943-423D-BFEC-8129889E8B6F}"/>
          </ac:spMkLst>
        </pc:spChg>
        <pc:spChg chg="add mod">
          <ac:chgData name="Meyer Raphael (KOM-PGA-VSF)" userId="79615dfe-ed48-4e74-a40f-4f7b034c1c27" providerId="ADAL" clId="{96D77013-12DF-4911-886E-DED6CCA30677}" dt="2020-12-16T09:59:59.619" v="3967" actId="20577"/>
          <ac:spMkLst>
            <pc:docMk/>
            <pc:sldMk cId="1667945532" sldId="306"/>
            <ac:spMk id="31" creationId="{7491A47D-CAD4-478D-8F3A-296FFCB799F9}"/>
          </ac:spMkLst>
        </pc:spChg>
        <pc:spChg chg="add mod">
          <ac:chgData name="Meyer Raphael (KOM-PGA-VSF)" userId="79615dfe-ed48-4e74-a40f-4f7b034c1c27" providerId="ADAL" clId="{96D77013-12DF-4911-886E-DED6CCA30677}" dt="2020-12-09T12:09:54.037" v="3773" actId="1035"/>
          <ac:spMkLst>
            <pc:docMk/>
            <pc:sldMk cId="1667945532" sldId="306"/>
            <ac:spMk id="32" creationId="{E65DDA4F-7190-4D5B-B875-6818D18C9F6E}"/>
          </ac:spMkLst>
        </pc:spChg>
        <pc:spChg chg="add del mod">
          <ac:chgData name="Meyer Raphael (KOM-PGA-VSF)" userId="79615dfe-ed48-4e74-a40f-4f7b034c1c27" providerId="ADAL" clId="{96D77013-12DF-4911-886E-DED6CCA30677}" dt="2020-12-02T10:44:19.934" v="3561" actId="478"/>
          <ac:spMkLst>
            <pc:docMk/>
            <pc:sldMk cId="1667945532" sldId="306"/>
            <ac:spMk id="33" creationId="{18E4FD3A-0462-4CBE-B9ED-76EFB02AE0FB}"/>
          </ac:spMkLst>
        </pc:spChg>
        <pc:spChg chg="add mod">
          <ac:chgData name="Meyer Raphael (KOM-PGA-VSF)" userId="79615dfe-ed48-4e74-a40f-4f7b034c1c27" providerId="ADAL" clId="{96D77013-12DF-4911-886E-DED6CCA30677}" dt="2020-12-09T12:13:19.236" v="3865" actId="552"/>
          <ac:spMkLst>
            <pc:docMk/>
            <pc:sldMk cId="1667945532" sldId="306"/>
            <ac:spMk id="33" creationId="{A80F7DEC-022D-4493-8CDE-E61BC06E6C43}"/>
          </ac:spMkLst>
        </pc:spChg>
        <pc:spChg chg="add del">
          <ac:chgData name="Meyer Raphael (KOM-PGA-VSF)" userId="79615dfe-ed48-4e74-a40f-4f7b034c1c27" providerId="ADAL" clId="{96D77013-12DF-4911-886E-DED6CCA30677}" dt="2020-12-09T12:13:13.665" v="3864" actId="478"/>
          <ac:spMkLst>
            <pc:docMk/>
            <pc:sldMk cId="1667945532" sldId="306"/>
            <ac:spMk id="36" creationId="{7F8EE637-C350-4297-B59F-C99D86881D09}"/>
          </ac:spMkLst>
        </pc:spChg>
        <pc:spChg chg="add mod">
          <ac:chgData name="Meyer Raphael (KOM-PGA-VSF)" userId="79615dfe-ed48-4e74-a40f-4f7b034c1c27" providerId="ADAL" clId="{96D77013-12DF-4911-886E-DED6CCA30677}" dt="2020-12-09T12:13:19.236" v="3865" actId="552"/>
          <ac:spMkLst>
            <pc:docMk/>
            <pc:sldMk cId="1667945532" sldId="306"/>
            <ac:spMk id="37" creationId="{16628D91-C37D-41C8-A84A-DDEB3E2C1246}"/>
          </ac:spMkLst>
        </pc:spChg>
        <pc:graphicFrameChg chg="mod">
          <ac:chgData name="Meyer Raphael (KOM-PGA-VSF)" userId="79615dfe-ed48-4e74-a40f-4f7b034c1c27" providerId="ADAL" clId="{96D77013-12DF-4911-886E-DED6CCA30677}" dt="2020-11-18T09:44:31.799" v="2656" actId="14100"/>
          <ac:graphicFrameMkLst>
            <pc:docMk/>
            <pc:sldMk cId="1667945532" sldId="306"/>
            <ac:graphicFrameMk id="5" creationId="{4CF6AB8B-CAB9-4C7E-8E59-E00357A4D7F0}"/>
          </ac:graphicFrameMkLst>
        </pc:graphicFrameChg>
        <pc:graphicFrameChg chg="add mod">
          <ac:chgData name="Meyer Raphael (KOM-PGA-VSF)" userId="79615dfe-ed48-4e74-a40f-4f7b034c1c27" providerId="ADAL" clId="{96D77013-12DF-4911-886E-DED6CCA30677}" dt="2020-11-18T10:16:57.599" v="2821" actId="14100"/>
          <ac:graphicFrameMkLst>
            <pc:docMk/>
            <pc:sldMk cId="1667945532" sldId="306"/>
            <ac:graphicFrameMk id="24" creationId="{B6049B58-D743-4BF8-ADBD-2CBD12961E56}"/>
          </ac:graphicFrameMkLst>
        </pc:graphicFrameChg>
        <pc:cxnChg chg="del mod">
          <ac:chgData name="Meyer Raphael (KOM-PGA-VSF)" userId="79615dfe-ed48-4e74-a40f-4f7b034c1c27" providerId="ADAL" clId="{96D77013-12DF-4911-886E-DED6CCA30677}" dt="2020-11-17T14:51:38.775" v="1797" actId="478"/>
          <ac:cxnSpMkLst>
            <pc:docMk/>
            <pc:sldMk cId="1667945532" sldId="306"/>
            <ac:cxnSpMk id="4" creationId="{5A6D5A69-1622-463F-9124-B6EF867D5DE3}"/>
          </ac:cxnSpMkLst>
        </pc:cxnChg>
        <pc:cxnChg chg="add del mod">
          <ac:chgData name="Meyer Raphael (KOM-PGA-VSF)" userId="79615dfe-ed48-4e74-a40f-4f7b034c1c27" providerId="ADAL" clId="{96D77013-12DF-4911-886E-DED6CCA30677}" dt="2020-11-17T13:09:55.053" v="1647" actId="478"/>
          <ac:cxnSpMkLst>
            <pc:docMk/>
            <pc:sldMk cId="1667945532" sldId="306"/>
            <ac:cxnSpMk id="11" creationId="{F0BE3543-AEF4-415A-9124-1C616B189F81}"/>
          </ac:cxnSpMkLst>
        </pc:cxnChg>
        <pc:cxnChg chg="del mod">
          <ac:chgData name="Meyer Raphael (KOM-PGA-VSF)" userId="79615dfe-ed48-4e74-a40f-4f7b034c1c27" providerId="ADAL" clId="{96D77013-12DF-4911-886E-DED6CCA30677}" dt="2020-11-17T13:09:56.442" v="1648" actId="478"/>
          <ac:cxnSpMkLst>
            <pc:docMk/>
            <pc:sldMk cId="1667945532" sldId="306"/>
            <ac:cxnSpMk id="14" creationId="{0074DA36-AC1B-434E-8C33-ED084765FD3B}"/>
          </ac:cxnSpMkLst>
        </pc:cxnChg>
        <pc:cxnChg chg="add del mod">
          <ac:chgData name="Meyer Raphael (KOM-PGA-VSF)" userId="79615dfe-ed48-4e74-a40f-4f7b034c1c27" providerId="ADAL" clId="{96D77013-12DF-4911-886E-DED6CCA30677}" dt="2020-11-17T15:43:31.702" v="2321" actId="478"/>
          <ac:cxnSpMkLst>
            <pc:docMk/>
            <pc:sldMk cId="1667945532" sldId="306"/>
            <ac:cxnSpMk id="16" creationId="{280725AD-C395-4922-832F-FD4C3310F595}"/>
          </ac:cxnSpMkLst>
        </pc:cxnChg>
        <pc:cxnChg chg="add mod">
          <ac:chgData name="Meyer Raphael (KOM-PGA-VSF)" userId="79615dfe-ed48-4e74-a40f-4f7b034c1c27" providerId="ADAL" clId="{96D77013-12DF-4911-886E-DED6CCA30677}" dt="2020-12-09T12:10:24.727" v="3809" actId="1036"/>
          <ac:cxnSpMkLst>
            <pc:docMk/>
            <pc:sldMk cId="1667945532" sldId="306"/>
            <ac:cxnSpMk id="20" creationId="{07FCC63F-5E2F-43DF-84ED-5FFEC92A0042}"/>
          </ac:cxnSpMkLst>
        </pc:cxnChg>
        <pc:cxnChg chg="add del mod">
          <ac:chgData name="Meyer Raphael (KOM-PGA-VSF)" userId="79615dfe-ed48-4e74-a40f-4f7b034c1c27" providerId="ADAL" clId="{96D77013-12DF-4911-886E-DED6CCA30677}" dt="2020-11-17T15:43:42.715" v="2325" actId="478"/>
          <ac:cxnSpMkLst>
            <pc:docMk/>
            <pc:sldMk cId="1667945532" sldId="306"/>
            <ac:cxnSpMk id="25" creationId="{EAF4DE04-6573-422B-B20F-1FB0A1E25FDF}"/>
          </ac:cxnSpMkLst>
        </pc:cxnChg>
        <pc:cxnChg chg="add mod ord">
          <ac:chgData name="Meyer Raphael (KOM-PGA-VSF)" userId="79615dfe-ed48-4e74-a40f-4f7b034c1c27" providerId="ADAL" clId="{96D77013-12DF-4911-886E-DED6CCA30677}" dt="2020-12-09T12:07:34.149" v="3739" actId="1038"/>
          <ac:cxnSpMkLst>
            <pc:docMk/>
            <pc:sldMk cId="1667945532" sldId="306"/>
            <ac:cxnSpMk id="29" creationId="{FD3E902F-283F-48FC-9504-FF2FF4EA4BF0}"/>
          </ac:cxnSpMkLst>
        </pc:cxnChg>
        <pc:cxnChg chg="add mod ord">
          <ac:chgData name="Meyer Raphael (KOM-PGA-VSF)" userId="79615dfe-ed48-4e74-a40f-4f7b034c1c27" providerId="ADAL" clId="{96D77013-12DF-4911-886E-DED6CCA30677}" dt="2020-12-09T12:15:56.104" v="3887" actId="1035"/>
          <ac:cxnSpMkLst>
            <pc:docMk/>
            <pc:sldMk cId="1667945532" sldId="306"/>
            <ac:cxnSpMk id="30" creationId="{1D702FCA-793F-404B-84D5-F14C318BFFB3}"/>
          </ac:cxnSpMkLst>
        </pc:cxnChg>
        <pc:cxnChg chg="add del mod ord">
          <ac:chgData name="Meyer Raphael (KOM-PGA-VSF)" userId="79615dfe-ed48-4e74-a40f-4f7b034c1c27" providerId="ADAL" clId="{96D77013-12DF-4911-886E-DED6CCA30677}" dt="2020-11-17T15:41:23.497" v="2205" actId="478"/>
          <ac:cxnSpMkLst>
            <pc:docMk/>
            <pc:sldMk cId="1667945532" sldId="306"/>
            <ac:cxnSpMk id="33" creationId="{E42D3DA0-BF68-4237-88F8-23A5AEB7A3E9}"/>
          </ac:cxnSpMkLst>
        </pc:cxnChg>
        <pc:cxnChg chg="add mod">
          <ac:chgData name="Meyer Raphael (KOM-PGA-VSF)" userId="79615dfe-ed48-4e74-a40f-4f7b034c1c27" providerId="ADAL" clId="{96D77013-12DF-4911-886E-DED6CCA30677}" dt="2020-11-18T09:42:24.399" v="2643" actId="14100"/>
          <ac:cxnSpMkLst>
            <pc:docMk/>
            <pc:sldMk cId="1667945532" sldId="306"/>
            <ac:cxnSpMk id="34" creationId="{A28D3A8B-AB11-4B3B-BFD6-FCBA3464228F}"/>
          </ac:cxnSpMkLst>
        </pc:cxnChg>
        <pc:cxnChg chg="add mod">
          <ac:chgData name="Meyer Raphael (KOM-PGA-VSF)" userId="79615dfe-ed48-4e74-a40f-4f7b034c1c27" providerId="ADAL" clId="{96D77013-12DF-4911-886E-DED6CCA30677}" dt="2020-11-18T10:20:58.342" v="2832" actId="1036"/>
          <ac:cxnSpMkLst>
            <pc:docMk/>
            <pc:sldMk cId="1667945532" sldId="306"/>
            <ac:cxnSpMk id="35" creationId="{3D7E9771-61D5-497A-8FCF-1D1BB3A3C724}"/>
          </ac:cxnSpMkLst>
        </pc:cxnChg>
      </pc:sldChg>
      <pc:sldChg chg="addSp delSp modSp add del ord">
        <pc:chgData name="Meyer Raphael (KOM-PGA-VSF)" userId="79615dfe-ed48-4e74-a40f-4f7b034c1c27" providerId="ADAL" clId="{96D77013-12DF-4911-886E-DED6CCA30677}" dt="2020-11-25T13:55:00.189" v="3366" actId="2696"/>
        <pc:sldMkLst>
          <pc:docMk/>
          <pc:sldMk cId="670071235" sldId="307"/>
        </pc:sldMkLst>
        <pc:spChg chg="mod">
          <ac:chgData name="Meyer Raphael (KOM-PGA-VSF)" userId="79615dfe-ed48-4e74-a40f-4f7b034c1c27" providerId="ADAL" clId="{96D77013-12DF-4911-886E-DED6CCA30677}" dt="2020-11-18T14:53:54.548" v="2933" actId="6549"/>
          <ac:spMkLst>
            <pc:docMk/>
            <pc:sldMk cId="670071235" sldId="307"/>
            <ac:spMk id="2" creationId="{A2DC317F-F1F4-4624-8FC1-3B68C1DBB3DA}"/>
          </ac:spMkLst>
        </pc:spChg>
        <pc:spChg chg="add del mod">
          <ac:chgData name="Meyer Raphael (KOM-PGA-VSF)" userId="79615dfe-ed48-4e74-a40f-4f7b034c1c27" providerId="ADAL" clId="{96D77013-12DF-4911-886E-DED6CCA30677}" dt="2020-11-18T14:57:23.910" v="2989" actId="478"/>
          <ac:spMkLst>
            <pc:docMk/>
            <pc:sldMk cId="670071235" sldId="307"/>
            <ac:spMk id="3" creationId="{34D60BEB-E3B1-4159-A206-E918FDA375C1}"/>
          </ac:spMkLst>
        </pc:spChg>
        <pc:spChg chg="mod">
          <ac:chgData name="Meyer Raphael (KOM-PGA-VSF)" userId="79615dfe-ed48-4e74-a40f-4f7b034c1c27" providerId="ADAL" clId="{96D77013-12DF-4911-886E-DED6CCA30677}" dt="2020-11-18T15:19:17.591" v="3192" actId="20577"/>
          <ac:spMkLst>
            <pc:docMk/>
            <pc:sldMk cId="670071235" sldId="307"/>
            <ac:spMk id="4" creationId="{FE424811-9A99-46D3-9443-AAB22DAEAB5A}"/>
          </ac:spMkLst>
        </pc:spChg>
        <pc:spChg chg="mod">
          <ac:chgData name="Meyer Raphael (KOM-PGA-VSF)" userId="79615dfe-ed48-4e74-a40f-4f7b034c1c27" providerId="ADAL" clId="{96D77013-12DF-4911-886E-DED6CCA30677}" dt="2020-11-18T14:56:41.707" v="2987"/>
          <ac:spMkLst>
            <pc:docMk/>
            <pc:sldMk cId="670071235" sldId="307"/>
            <ac:spMk id="7" creationId="{BA3F9A72-0541-4D1F-8CD8-1C2B8074FA1B}"/>
          </ac:spMkLst>
        </pc:spChg>
        <pc:spChg chg="mod">
          <ac:chgData name="Meyer Raphael (KOM-PGA-VSF)" userId="79615dfe-ed48-4e74-a40f-4f7b034c1c27" providerId="ADAL" clId="{96D77013-12DF-4911-886E-DED6CCA30677}" dt="2020-11-18T14:54:53.280" v="2977" actId="1036"/>
          <ac:spMkLst>
            <pc:docMk/>
            <pc:sldMk cId="670071235" sldId="307"/>
            <ac:spMk id="8" creationId="{5857C2A1-2CB8-4D4A-AEFD-E809BF73D04F}"/>
          </ac:spMkLst>
        </pc:spChg>
        <pc:spChg chg="mod">
          <ac:chgData name="Meyer Raphael (KOM-PGA-VSF)" userId="79615dfe-ed48-4e74-a40f-4f7b034c1c27" providerId="ADAL" clId="{96D77013-12DF-4911-886E-DED6CCA30677}" dt="2020-11-18T14:57:08.797" v="2988"/>
          <ac:spMkLst>
            <pc:docMk/>
            <pc:sldMk cId="670071235" sldId="307"/>
            <ac:spMk id="9" creationId="{B6990B61-32B2-4ADC-BF01-EDF7B4080F97}"/>
          </ac:spMkLst>
        </pc:spChg>
        <pc:spChg chg="mod">
          <ac:chgData name="Meyer Raphael (KOM-PGA-VSF)" userId="79615dfe-ed48-4e74-a40f-4f7b034c1c27" providerId="ADAL" clId="{96D77013-12DF-4911-886E-DED6CCA30677}" dt="2020-11-18T14:54:09.512" v="2936" actId="6549"/>
          <ac:spMkLst>
            <pc:docMk/>
            <pc:sldMk cId="670071235" sldId="307"/>
            <ac:spMk id="10" creationId="{077DFD58-E5EE-4B68-9325-D935DB04DD40}"/>
          </ac:spMkLst>
        </pc:spChg>
        <pc:spChg chg="mod">
          <ac:chgData name="Meyer Raphael (KOM-PGA-VSF)" userId="79615dfe-ed48-4e74-a40f-4f7b034c1c27" providerId="ADAL" clId="{96D77013-12DF-4911-886E-DED6CCA30677}" dt="2020-11-18T14:56:07.814" v="2984" actId="6549"/>
          <ac:spMkLst>
            <pc:docMk/>
            <pc:sldMk cId="670071235" sldId="307"/>
            <ac:spMk id="17" creationId="{785E740C-F94A-4208-8DFD-63A603C16577}"/>
          </ac:spMkLst>
        </pc:spChg>
        <pc:spChg chg="add del mod">
          <ac:chgData name="Meyer Raphael (KOM-PGA-VSF)" userId="79615dfe-ed48-4e74-a40f-4f7b034c1c27" providerId="ADAL" clId="{96D77013-12DF-4911-886E-DED6CCA30677}" dt="2020-11-18T15:13:42.769" v="3135" actId="478"/>
          <ac:spMkLst>
            <pc:docMk/>
            <pc:sldMk cId="670071235" sldId="307"/>
            <ac:spMk id="23" creationId="{27E9F276-A13F-47E6-8402-2CF9F5A375C3}"/>
          </ac:spMkLst>
        </pc:spChg>
        <pc:spChg chg="add">
          <ac:chgData name="Meyer Raphael (KOM-PGA-VSF)" userId="79615dfe-ed48-4e74-a40f-4f7b034c1c27" providerId="ADAL" clId="{96D77013-12DF-4911-886E-DED6CCA30677}" dt="2020-11-18T15:11:22.756" v="3074"/>
          <ac:spMkLst>
            <pc:docMk/>
            <pc:sldMk cId="670071235" sldId="307"/>
            <ac:spMk id="25" creationId="{B9CCF8AC-F3FB-4E3D-B7B7-6B939D110CFA}"/>
          </ac:spMkLst>
        </pc:spChg>
        <pc:spChg chg="mod">
          <ac:chgData name="Meyer Raphael (KOM-PGA-VSF)" userId="79615dfe-ed48-4e74-a40f-4f7b034c1c27" providerId="ADAL" clId="{96D77013-12DF-4911-886E-DED6CCA30677}" dt="2020-11-18T14:56:14.497" v="2986" actId="6549"/>
          <ac:spMkLst>
            <pc:docMk/>
            <pc:sldMk cId="670071235" sldId="307"/>
            <ac:spMk id="26" creationId="{BFD498B5-D73E-4C8A-9FAF-B3547647538C}"/>
          </ac:spMkLst>
        </pc:spChg>
        <pc:spChg chg="mod">
          <ac:chgData name="Meyer Raphael (KOM-PGA-VSF)" userId="79615dfe-ed48-4e74-a40f-4f7b034c1c27" providerId="ADAL" clId="{96D77013-12DF-4911-886E-DED6CCA30677}" dt="2020-11-18T14:55:32.658" v="2982" actId="14100"/>
          <ac:spMkLst>
            <pc:docMk/>
            <pc:sldMk cId="670071235" sldId="307"/>
            <ac:spMk id="27" creationId="{46A6B042-39EE-4A58-BBAA-13D52264B660}"/>
          </ac:spMkLst>
        </pc:spChg>
        <pc:spChg chg="add del mod">
          <ac:chgData name="Meyer Raphael (KOM-PGA-VSF)" userId="79615dfe-ed48-4e74-a40f-4f7b034c1c27" providerId="ADAL" clId="{96D77013-12DF-4911-886E-DED6CCA30677}" dt="2020-11-18T15:14:08.092" v="3178" actId="478"/>
          <ac:spMkLst>
            <pc:docMk/>
            <pc:sldMk cId="670071235" sldId="307"/>
            <ac:spMk id="33" creationId="{7A7A5E49-D0F2-4BD1-9628-6224FF24230C}"/>
          </ac:spMkLst>
        </pc:spChg>
        <pc:spChg chg="add mod">
          <ac:chgData name="Meyer Raphael (KOM-PGA-VSF)" userId="79615dfe-ed48-4e74-a40f-4f7b034c1c27" providerId="ADAL" clId="{96D77013-12DF-4911-886E-DED6CCA30677}" dt="2020-11-18T15:11:44.585" v="3114" actId="1038"/>
          <ac:spMkLst>
            <pc:docMk/>
            <pc:sldMk cId="670071235" sldId="307"/>
            <ac:spMk id="36" creationId="{7DD43DE4-C2C1-4271-A990-F4C41E0E0DAB}"/>
          </ac:spMkLst>
        </pc:spChg>
        <pc:spChg chg="add mod">
          <ac:chgData name="Meyer Raphael (KOM-PGA-VSF)" userId="79615dfe-ed48-4e74-a40f-4f7b034c1c27" providerId="ADAL" clId="{96D77013-12DF-4911-886E-DED6CCA30677}" dt="2020-11-18T15:52:18.472" v="3223" actId="20577"/>
          <ac:spMkLst>
            <pc:docMk/>
            <pc:sldMk cId="670071235" sldId="307"/>
            <ac:spMk id="37" creationId="{76E30C07-8435-4061-809C-53D7922D52B8}"/>
          </ac:spMkLst>
        </pc:spChg>
        <pc:spChg chg="add mod">
          <ac:chgData name="Meyer Raphael (KOM-PGA-VSF)" userId="79615dfe-ed48-4e74-a40f-4f7b034c1c27" providerId="ADAL" clId="{96D77013-12DF-4911-886E-DED6CCA30677}" dt="2020-11-18T15:52:21.852" v="3225" actId="20577"/>
          <ac:spMkLst>
            <pc:docMk/>
            <pc:sldMk cId="670071235" sldId="307"/>
            <ac:spMk id="38" creationId="{DE66F159-7628-42D1-ADAE-2EA0A294CF19}"/>
          </ac:spMkLst>
        </pc:spChg>
        <pc:cxnChg chg="mod">
          <ac:chgData name="Meyer Raphael (KOM-PGA-VSF)" userId="79615dfe-ed48-4e74-a40f-4f7b034c1c27" providerId="ADAL" clId="{96D77013-12DF-4911-886E-DED6CCA30677}" dt="2020-11-18T14:54:53.280" v="2977" actId="1036"/>
          <ac:cxnSpMkLst>
            <pc:docMk/>
            <pc:sldMk cId="670071235" sldId="307"/>
            <ac:cxnSpMk id="20" creationId="{07FCC63F-5E2F-43DF-84ED-5FFEC92A0042}"/>
          </ac:cxnSpMkLst>
        </pc:cxnChg>
      </pc:sldChg>
      <pc:sldChg chg="addSp modSp add del">
        <pc:chgData name="Meyer Raphael (KOM-PGA-VSF)" userId="79615dfe-ed48-4e74-a40f-4f7b034c1c27" providerId="ADAL" clId="{96D77013-12DF-4911-886E-DED6CCA30677}" dt="2020-11-18T10:37:29.365" v="2838" actId="2696"/>
        <pc:sldMkLst>
          <pc:docMk/>
          <pc:sldMk cId="4196972661" sldId="307"/>
        </pc:sldMkLst>
        <pc:spChg chg="add mod">
          <ac:chgData name="Meyer Raphael (KOM-PGA-VSF)" userId="79615dfe-ed48-4e74-a40f-4f7b034c1c27" providerId="ADAL" clId="{96D77013-12DF-4911-886E-DED6CCA30677}" dt="2020-11-18T09:54:12.470" v="2662" actId="20577"/>
          <ac:spMkLst>
            <pc:docMk/>
            <pc:sldMk cId="4196972661" sldId="307"/>
            <ac:spMk id="3" creationId="{5E0B0D67-4821-402E-B2AA-89F8238DA93A}"/>
          </ac:spMkLst>
        </pc:spChg>
        <pc:spChg chg="mod">
          <ac:chgData name="Meyer Raphael (KOM-PGA-VSF)" userId="79615dfe-ed48-4e74-a40f-4f7b034c1c27" providerId="ADAL" clId="{96D77013-12DF-4911-886E-DED6CCA30677}" dt="2020-11-18T09:59:30.927" v="2717"/>
          <ac:spMkLst>
            <pc:docMk/>
            <pc:sldMk cId="4196972661" sldId="307"/>
            <ac:spMk id="7" creationId="{BA3F9A72-0541-4D1F-8CD8-1C2B8074FA1B}"/>
          </ac:spMkLst>
        </pc:spChg>
        <pc:spChg chg="mod">
          <ac:chgData name="Meyer Raphael (KOM-PGA-VSF)" userId="79615dfe-ed48-4e74-a40f-4f7b034c1c27" providerId="ADAL" clId="{96D77013-12DF-4911-886E-DED6CCA30677}" dt="2020-11-18T09:59:22.365" v="2716"/>
          <ac:spMkLst>
            <pc:docMk/>
            <pc:sldMk cId="4196972661" sldId="307"/>
            <ac:spMk id="9" creationId="{B6990B61-32B2-4ADC-BF01-EDF7B4080F97}"/>
          </ac:spMkLst>
        </pc:spChg>
      </pc:sldChg>
      <pc:sldChg chg="addSp modSp add del">
        <pc:chgData name="Meyer Raphael (KOM-PGA-VSF)" userId="79615dfe-ed48-4e74-a40f-4f7b034c1c27" providerId="ADAL" clId="{96D77013-12DF-4911-886E-DED6CCA30677}" dt="2020-11-18T10:37:30.483" v="2839" actId="2696"/>
        <pc:sldMkLst>
          <pc:docMk/>
          <pc:sldMk cId="71469932" sldId="308"/>
        </pc:sldMkLst>
        <pc:spChg chg="mod">
          <ac:chgData name="Meyer Raphael (KOM-PGA-VSF)" userId="79615dfe-ed48-4e74-a40f-4f7b034c1c27" providerId="ADAL" clId="{96D77013-12DF-4911-886E-DED6CCA30677}" dt="2020-11-18T09:57:46.272" v="2714"/>
          <ac:spMkLst>
            <pc:docMk/>
            <pc:sldMk cId="71469932" sldId="308"/>
            <ac:spMk id="7" creationId="{BA3F9A72-0541-4D1F-8CD8-1C2B8074FA1B}"/>
          </ac:spMkLst>
        </pc:spChg>
        <pc:spChg chg="mod">
          <ac:chgData name="Meyer Raphael (KOM-PGA-VSF)" userId="79615dfe-ed48-4e74-a40f-4f7b034c1c27" providerId="ADAL" clId="{96D77013-12DF-4911-886E-DED6CCA30677}" dt="2020-11-18T09:58:02.325" v="2715"/>
          <ac:spMkLst>
            <pc:docMk/>
            <pc:sldMk cId="71469932" sldId="308"/>
            <ac:spMk id="9" creationId="{B6990B61-32B2-4ADC-BF01-EDF7B4080F97}"/>
          </ac:spMkLst>
        </pc:spChg>
        <pc:spChg chg="add mod">
          <ac:chgData name="Meyer Raphael (KOM-PGA-VSF)" userId="79615dfe-ed48-4e74-a40f-4f7b034c1c27" providerId="ADAL" clId="{96D77013-12DF-4911-886E-DED6CCA30677}" dt="2020-11-18T09:54:24.646" v="2667" actId="20577"/>
          <ac:spMkLst>
            <pc:docMk/>
            <pc:sldMk cId="71469932" sldId="308"/>
            <ac:spMk id="21" creationId="{8814E7B8-EA94-4246-9399-E7A06942A010}"/>
          </ac:spMkLst>
        </pc:spChg>
      </pc:sldChg>
      <pc:sldChg chg="addSp delSp modSp add del ord">
        <pc:chgData name="Meyer Raphael (KOM-PGA-VSF)" userId="79615dfe-ed48-4e74-a40f-4f7b034c1c27" providerId="ADAL" clId="{96D77013-12DF-4911-886E-DED6CCA30677}" dt="2020-11-25T13:52:26.962" v="3345" actId="2696"/>
        <pc:sldMkLst>
          <pc:docMk/>
          <pc:sldMk cId="1975790712" sldId="308"/>
        </pc:sldMkLst>
        <pc:spChg chg="mod">
          <ac:chgData name="Meyer Raphael (KOM-PGA-VSF)" userId="79615dfe-ed48-4e74-a40f-4f7b034c1c27" providerId="ADAL" clId="{96D77013-12DF-4911-886E-DED6CCA30677}" dt="2020-11-18T14:47:13.159" v="2853" actId="20577"/>
          <ac:spMkLst>
            <pc:docMk/>
            <pc:sldMk cId="1975790712" sldId="308"/>
            <ac:spMk id="2" creationId="{A2DC317F-F1F4-4624-8FC1-3B68C1DBB3DA}"/>
          </ac:spMkLst>
        </pc:spChg>
        <pc:spChg chg="mod">
          <ac:chgData name="Meyer Raphael (KOM-PGA-VSF)" userId="79615dfe-ed48-4e74-a40f-4f7b034c1c27" providerId="ADAL" clId="{96D77013-12DF-4911-886E-DED6CCA30677}" dt="2020-11-18T14:53:08.299" v="2930" actId="20577"/>
          <ac:spMkLst>
            <pc:docMk/>
            <pc:sldMk cId="1975790712" sldId="308"/>
            <ac:spMk id="4" creationId="{FE424811-9A99-46D3-9443-AAB22DAEAB5A}"/>
          </ac:spMkLst>
        </pc:spChg>
        <pc:spChg chg="mod">
          <ac:chgData name="Meyer Raphael (KOM-PGA-VSF)" userId="79615dfe-ed48-4e74-a40f-4f7b034c1c27" providerId="ADAL" clId="{96D77013-12DF-4911-886E-DED6CCA30677}" dt="2020-11-18T14:51:12.673" v="2923"/>
          <ac:spMkLst>
            <pc:docMk/>
            <pc:sldMk cId="1975790712" sldId="308"/>
            <ac:spMk id="7" creationId="{BA3F9A72-0541-4D1F-8CD8-1C2B8074FA1B}"/>
          </ac:spMkLst>
        </pc:spChg>
        <pc:spChg chg="mod">
          <ac:chgData name="Meyer Raphael (KOM-PGA-VSF)" userId="79615dfe-ed48-4e74-a40f-4f7b034c1c27" providerId="ADAL" clId="{96D77013-12DF-4911-886E-DED6CCA30677}" dt="2020-11-18T14:48:56.829" v="2910" actId="1035"/>
          <ac:spMkLst>
            <pc:docMk/>
            <pc:sldMk cId="1975790712" sldId="308"/>
            <ac:spMk id="8" creationId="{5857C2A1-2CB8-4D4A-AEFD-E809BF73D04F}"/>
          </ac:spMkLst>
        </pc:spChg>
        <pc:spChg chg="mod">
          <ac:chgData name="Meyer Raphael (KOM-PGA-VSF)" userId="79615dfe-ed48-4e74-a40f-4f7b034c1c27" providerId="ADAL" clId="{96D77013-12DF-4911-886E-DED6CCA30677}" dt="2020-11-18T14:51:26.380" v="2924"/>
          <ac:spMkLst>
            <pc:docMk/>
            <pc:sldMk cId="1975790712" sldId="308"/>
            <ac:spMk id="9" creationId="{B6990B61-32B2-4ADC-BF01-EDF7B4080F97}"/>
          </ac:spMkLst>
        </pc:spChg>
        <pc:spChg chg="mod">
          <ac:chgData name="Meyer Raphael (KOM-PGA-VSF)" userId="79615dfe-ed48-4e74-a40f-4f7b034c1c27" providerId="ADAL" clId="{96D77013-12DF-4911-886E-DED6CCA30677}" dt="2020-11-18T14:47:33.770" v="2854"/>
          <ac:spMkLst>
            <pc:docMk/>
            <pc:sldMk cId="1975790712" sldId="308"/>
            <ac:spMk id="10" creationId="{077DFD58-E5EE-4B68-9325-D935DB04DD40}"/>
          </ac:spMkLst>
        </pc:spChg>
        <pc:spChg chg="add del mod">
          <ac:chgData name="Meyer Raphael (KOM-PGA-VSF)" userId="79615dfe-ed48-4e74-a40f-4f7b034c1c27" providerId="ADAL" clId="{96D77013-12DF-4911-886E-DED6CCA30677}" dt="2020-11-18T15:13:36.281" v="3133" actId="478"/>
          <ac:spMkLst>
            <pc:docMk/>
            <pc:sldMk cId="1975790712" sldId="308"/>
            <ac:spMk id="13" creationId="{121AD503-6E65-43E8-A94F-36015FD02EF7}"/>
          </ac:spMkLst>
        </pc:spChg>
        <pc:spChg chg="add mod">
          <ac:chgData name="Meyer Raphael (KOM-PGA-VSF)" userId="79615dfe-ed48-4e74-a40f-4f7b034c1c27" providerId="ADAL" clId="{96D77013-12DF-4911-886E-DED6CCA30677}" dt="2020-11-18T15:11:07.250" v="3072" actId="208"/>
          <ac:spMkLst>
            <pc:docMk/>
            <pc:sldMk cId="1975790712" sldId="308"/>
            <ac:spMk id="14" creationId="{3D296224-CEDF-46A2-BFE7-E76379B44FC1}"/>
          </ac:spMkLst>
        </pc:spChg>
        <pc:spChg chg="mod">
          <ac:chgData name="Meyer Raphael (KOM-PGA-VSF)" userId="79615dfe-ed48-4e74-a40f-4f7b034c1c27" providerId="ADAL" clId="{96D77013-12DF-4911-886E-DED6CCA30677}" dt="2020-11-18T14:50:05.630" v="2920" actId="14100"/>
          <ac:spMkLst>
            <pc:docMk/>
            <pc:sldMk cId="1975790712" sldId="308"/>
            <ac:spMk id="17" creationId="{785E740C-F94A-4208-8DFD-63A603C16577}"/>
          </ac:spMkLst>
        </pc:spChg>
        <pc:spChg chg="add del">
          <ac:chgData name="Meyer Raphael (KOM-PGA-VSF)" userId="79615dfe-ed48-4e74-a40f-4f7b034c1c27" providerId="ADAL" clId="{96D77013-12DF-4911-886E-DED6CCA30677}" dt="2020-11-18T14:47:42.084" v="2855" actId="478"/>
          <ac:spMkLst>
            <pc:docMk/>
            <pc:sldMk cId="1975790712" sldId="308"/>
            <ac:spMk id="21" creationId="{99579156-7477-4472-B45A-CD9D145D7FD8}"/>
          </ac:spMkLst>
        </pc:spChg>
        <pc:spChg chg="mod">
          <ac:chgData name="Meyer Raphael (KOM-PGA-VSF)" userId="79615dfe-ed48-4e74-a40f-4f7b034c1c27" providerId="ADAL" clId="{96D77013-12DF-4911-886E-DED6CCA30677}" dt="2020-11-18T14:50:23.539" v="2922" actId="14100"/>
          <ac:spMkLst>
            <pc:docMk/>
            <pc:sldMk cId="1975790712" sldId="308"/>
            <ac:spMk id="26" creationId="{BFD498B5-D73E-4C8A-9FAF-B3547647538C}"/>
          </ac:spMkLst>
        </pc:spChg>
        <pc:spChg chg="mod">
          <ac:chgData name="Meyer Raphael (KOM-PGA-VSF)" userId="79615dfe-ed48-4e74-a40f-4f7b034c1c27" providerId="ADAL" clId="{96D77013-12DF-4911-886E-DED6CCA30677}" dt="2020-11-18T14:49:37.776" v="2918" actId="20577"/>
          <ac:spMkLst>
            <pc:docMk/>
            <pc:sldMk cId="1975790712" sldId="308"/>
            <ac:spMk id="27" creationId="{46A6B042-39EE-4A58-BBAA-13D52264B660}"/>
          </ac:spMkLst>
        </pc:spChg>
        <pc:spChg chg="add del">
          <ac:chgData name="Meyer Raphael (KOM-PGA-VSF)" userId="79615dfe-ed48-4e74-a40f-4f7b034c1c27" providerId="ADAL" clId="{96D77013-12DF-4911-886E-DED6CCA30677}" dt="2020-11-18T15:14:22.696" v="3183" actId="478"/>
          <ac:spMkLst>
            <pc:docMk/>
            <pc:sldMk cId="1975790712" sldId="308"/>
            <ac:spMk id="33" creationId="{E5EEE4DA-8649-489B-A535-47E830D074F3}"/>
          </ac:spMkLst>
        </pc:spChg>
        <pc:spChg chg="add">
          <ac:chgData name="Meyer Raphael (KOM-PGA-VSF)" userId="79615dfe-ed48-4e74-a40f-4f7b034c1c27" providerId="ADAL" clId="{96D77013-12DF-4911-886E-DED6CCA30677}" dt="2020-11-18T15:12:10.329" v="3122"/>
          <ac:spMkLst>
            <pc:docMk/>
            <pc:sldMk cId="1975790712" sldId="308"/>
            <ac:spMk id="36" creationId="{6F084887-239A-4C4D-A284-528B8CDF3D21}"/>
          </ac:spMkLst>
        </pc:spChg>
        <pc:spChg chg="add">
          <ac:chgData name="Meyer Raphael (KOM-PGA-VSF)" userId="79615dfe-ed48-4e74-a40f-4f7b034c1c27" providerId="ADAL" clId="{96D77013-12DF-4911-886E-DED6CCA30677}" dt="2020-11-18T15:13:37.652" v="3134"/>
          <ac:spMkLst>
            <pc:docMk/>
            <pc:sldMk cId="1975790712" sldId="308"/>
            <ac:spMk id="37" creationId="{8B41BC20-7E0B-4458-8CBF-8EAC2A462A07}"/>
          </ac:spMkLst>
        </pc:spChg>
        <pc:spChg chg="add">
          <ac:chgData name="Meyer Raphael (KOM-PGA-VSF)" userId="79615dfe-ed48-4e74-a40f-4f7b034c1c27" providerId="ADAL" clId="{96D77013-12DF-4911-886E-DED6CCA30677}" dt="2020-11-18T15:14:36.521" v="3185"/>
          <ac:spMkLst>
            <pc:docMk/>
            <pc:sldMk cId="1975790712" sldId="308"/>
            <ac:spMk id="38" creationId="{39113A41-E924-4E07-A7B6-998D5534AEED}"/>
          </ac:spMkLst>
        </pc:spChg>
        <pc:cxnChg chg="mod">
          <ac:chgData name="Meyer Raphael (KOM-PGA-VSF)" userId="79615dfe-ed48-4e74-a40f-4f7b034c1c27" providerId="ADAL" clId="{96D77013-12DF-4911-886E-DED6CCA30677}" dt="2020-11-18T14:48:56.829" v="2910" actId="1035"/>
          <ac:cxnSpMkLst>
            <pc:docMk/>
            <pc:sldMk cId="1975790712" sldId="308"/>
            <ac:cxnSpMk id="20" creationId="{07FCC63F-5E2F-43DF-84ED-5FFEC92A0042}"/>
          </ac:cxnSpMkLst>
        </pc:cxnChg>
      </pc:sldChg>
      <pc:sldChg chg="addSp delSp modSp add del ord">
        <pc:chgData name="Meyer Raphael (KOM-PGA-VSF)" userId="79615dfe-ed48-4e74-a40f-4f7b034c1c27" providerId="ADAL" clId="{96D77013-12DF-4911-886E-DED6CCA30677}" dt="2020-12-02T10:44:48.819" v="3563" actId="2696"/>
        <pc:sldMkLst>
          <pc:docMk/>
          <pc:sldMk cId="2741828430" sldId="309"/>
        </pc:sldMkLst>
        <pc:spChg chg="mod">
          <ac:chgData name="Meyer Raphael (KOM-PGA-VSF)" userId="79615dfe-ed48-4e74-a40f-4f7b034c1c27" providerId="ADAL" clId="{96D77013-12DF-4911-886E-DED6CCA30677}" dt="2020-11-25T13:49:49.387" v="3327"/>
          <ac:spMkLst>
            <pc:docMk/>
            <pc:sldMk cId="2741828430" sldId="309"/>
            <ac:spMk id="2" creationId="{A2DC317F-F1F4-4624-8FC1-3B68C1DBB3DA}"/>
          </ac:spMkLst>
        </pc:spChg>
        <pc:spChg chg="del">
          <ac:chgData name="Meyer Raphael (KOM-PGA-VSF)" userId="79615dfe-ed48-4e74-a40f-4f7b034c1c27" providerId="ADAL" clId="{96D77013-12DF-4911-886E-DED6CCA30677}" dt="2020-11-25T13:51:09.586" v="3337" actId="478"/>
          <ac:spMkLst>
            <pc:docMk/>
            <pc:sldMk cId="2741828430" sldId="309"/>
            <ac:spMk id="7" creationId="{BA3F9A72-0541-4D1F-8CD8-1C2B8074FA1B}"/>
          </ac:spMkLst>
        </pc:spChg>
        <pc:spChg chg="del mod">
          <ac:chgData name="Meyer Raphael (KOM-PGA-VSF)" userId="79615dfe-ed48-4e74-a40f-4f7b034c1c27" providerId="ADAL" clId="{96D77013-12DF-4911-886E-DED6CCA30677}" dt="2020-11-25T13:50:19.986" v="3331" actId="478"/>
          <ac:spMkLst>
            <pc:docMk/>
            <pc:sldMk cId="2741828430" sldId="309"/>
            <ac:spMk id="8" creationId="{5857C2A1-2CB8-4D4A-AEFD-E809BF73D04F}"/>
          </ac:spMkLst>
        </pc:spChg>
        <pc:spChg chg="del">
          <ac:chgData name="Meyer Raphael (KOM-PGA-VSF)" userId="79615dfe-ed48-4e74-a40f-4f7b034c1c27" providerId="ADAL" clId="{96D77013-12DF-4911-886E-DED6CCA30677}" dt="2020-11-25T13:51:11.701" v="3338" actId="478"/>
          <ac:spMkLst>
            <pc:docMk/>
            <pc:sldMk cId="2741828430" sldId="309"/>
            <ac:spMk id="9" creationId="{B6990B61-32B2-4ADC-BF01-EDF7B4080F97}"/>
          </ac:spMkLst>
        </pc:spChg>
        <pc:spChg chg="mod">
          <ac:chgData name="Meyer Raphael (KOM-PGA-VSF)" userId="79615dfe-ed48-4e74-a40f-4f7b034c1c27" providerId="ADAL" clId="{96D77013-12DF-4911-886E-DED6CCA30677}" dt="2020-11-25T13:50:02.100" v="3328"/>
          <ac:spMkLst>
            <pc:docMk/>
            <pc:sldMk cId="2741828430" sldId="309"/>
            <ac:spMk id="10" creationId="{077DFD58-E5EE-4B68-9325-D935DB04DD40}"/>
          </ac:spMkLst>
        </pc:spChg>
        <pc:spChg chg="del">
          <ac:chgData name="Meyer Raphael (KOM-PGA-VSF)" userId="79615dfe-ed48-4e74-a40f-4f7b034c1c27" providerId="ADAL" clId="{96D77013-12DF-4911-886E-DED6CCA30677}" dt="2020-11-25T13:50:48.674" v="3333" actId="478"/>
          <ac:spMkLst>
            <pc:docMk/>
            <pc:sldMk cId="2741828430" sldId="309"/>
            <ac:spMk id="17" creationId="{785E740C-F94A-4208-8DFD-63A603C16577}"/>
          </ac:spMkLst>
        </pc:spChg>
        <pc:spChg chg="del">
          <ac:chgData name="Meyer Raphael (KOM-PGA-VSF)" userId="79615dfe-ed48-4e74-a40f-4f7b034c1c27" providerId="ADAL" clId="{96D77013-12DF-4911-886E-DED6CCA30677}" dt="2020-11-25T13:50:52.610" v="3334" actId="478"/>
          <ac:spMkLst>
            <pc:docMk/>
            <pc:sldMk cId="2741828430" sldId="309"/>
            <ac:spMk id="26" creationId="{BFD498B5-D73E-4C8A-9FAF-B3547647538C}"/>
          </ac:spMkLst>
        </pc:spChg>
        <pc:spChg chg="mod">
          <ac:chgData name="Meyer Raphael (KOM-PGA-VSF)" userId="79615dfe-ed48-4e74-a40f-4f7b034c1c27" providerId="ADAL" clId="{96D77013-12DF-4911-886E-DED6CCA30677}" dt="2020-11-25T13:51:38.376" v="3342" actId="20577"/>
          <ac:spMkLst>
            <pc:docMk/>
            <pc:sldMk cId="2741828430" sldId="309"/>
            <ac:spMk id="27" creationId="{46A6B042-39EE-4A58-BBAA-13D52264B660}"/>
          </ac:spMkLst>
        </pc:spChg>
        <pc:spChg chg="add mod">
          <ac:chgData name="Meyer Raphael (KOM-PGA-VSF)" userId="79615dfe-ed48-4e74-a40f-4f7b034c1c27" providerId="ADAL" clId="{96D77013-12DF-4911-886E-DED6CCA30677}" dt="2020-11-25T13:51:41.475" v="3344" actId="20577"/>
          <ac:spMkLst>
            <pc:docMk/>
            <pc:sldMk cId="2741828430" sldId="309"/>
            <ac:spMk id="36" creationId="{A96FB2EB-C301-41E3-B15B-4608A22A373C}"/>
          </ac:spMkLst>
        </pc:spChg>
        <pc:spChg chg="add">
          <ac:chgData name="Meyer Raphael (KOM-PGA-VSF)" userId="79615dfe-ed48-4e74-a40f-4f7b034c1c27" providerId="ADAL" clId="{96D77013-12DF-4911-886E-DED6CCA30677}" dt="2020-11-25T13:50:59.417" v="3335"/>
          <ac:spMkLst>
            <pc:docMk/>
            <pc:sldMk cId="2741828430" sldId="309"/>
            <ac:spMk id="38" creationId="{241F4442-6726-48A4-BEE8-7D910F3FB79E}"/>
          </ac:spMkLst>
        </pc:spChg>
        <pc:spChg chg="add">
          <ac:chgData name="Meyer Raphael (KOM-PGA-VSF)" userId="79615dfe-ed48-4e74-a40f-4f7b034c1c27" providerId="ADAL" clId="{96D77013-12DF-4911-886E-DED6CCA30677}" dt="2020-11-25T13:51:05.899" v="3336"/>
          <ac:spMkLst>
            <pc:docMk/>
            <pc:sldMk cId="2741828430" sldId="309"/>
            <ac:spMk id="39" creationId="{E415B116-C905-46F0-8016-0C05A3A014D5}"/>
          </ac:spMkLst>
        </pc:spChg>
        <pc:spChg chg="add">
          <ac:chgData name="Meyer Raphael (KOM-PGA-VSF)" userId="79615dfe-ed48-4e74-a40f-4f7b034c1c27" providerId="ADAL" clId="{96D77013-12DF-4911-886E-DED6CCA30677}" dt="2020-11-25T13:51:18.334" v="3339"/>
          <ac:spMkLst>
            <pc:docMk/>
            <pc:sldMk cId="2741828430" sldId="309"/>
            <ac:spMk id="40" creationId="{29296A36-EDC0-4C73-902A-B697A7B34BE0}"/>
          </ac:spMkLst>
        </pc:spChg>
        <pc:spChg chg="add">
          <ac:chgData name="Meyer Raphael (KOM-PGA-VSF)" userId="79615dfe-ed48-4e74-a40f-4f7b034c1c27" providerId="ADAL" clId="{96D77013-12DF-4911-886E-DED6CCA30677}" dt="2020-11-25T13:51:18.334" v="3339"/>
          <ac:spMkLst>
            <pc:docMk/>
            <pc:sldMk cId="2741828430" sldId="309"/>
            <ac:spMk id="41" creationId="{A3499DA5-248C-476D-B746-FC922512CD4D}"/>
          </ac:spMkLst>
        </pc:spChg>
        <pc:cxnChg chg="del mod">
          <ac:chgData name="Meyer Raphael (KOM-PGA-VSF)" userId="79615dfe-ed48-4e74-a40f-4f7b034c1c27" providerId="ADAL" clId="{96D77013-12DF-4911-886E-DED6CCA30677}" dt="2020-11-25T13:50:19.986" v="3331" actId="478"/>
          <ac:cxnSpMkLst>
            <pc:docMk/>
            <pc:sldMk cId="2741828430" sldId="309"/>
            <ac:cxnSpMk id="20" creationId="{07FCC63F-5E2F-43DF-84ED-5FFEC92A0042}"/>
          </ac:cxnSpMkLst>
        </pc:cxnChg>
        <pc:cxnChg chg="add">
          <ac:chgData name="Meyer Raphael (KOM-PGA-VSF)" userId="79615dfe-ed48-4e74-a40f-4f7b034c1c27" providerId="ADAL" clId="{96D77013-12DF-4911-886E-DED6CCA30677}" dt="2020-11-25T13:50:27.576" v="3332"/>
          <ac:cxnSpMkLst>
            <pc:docMk/>
            <pc:sldMk cId="2741828430" sldId="309"/>
            <ac:cxnSpMk id="37" creationId="{948518F9-577D-42C1-9238-0034DC1DB758}"/>
          </ac:cxnSpMkLst>
        </pc:cxnChg>
      </pc:sldChg>
      <pc:sldChg chg="addSp delSp modSp add del">
        <pc:chgData name="Meyer Raphael (KOM-PGA-VSF)" userId="79615dfe-ed48-4e74-a40f-4f7b034c1c27" providerId="ADAL" clId="{96D77013-12DF-4911-886E-DED6CCA30677}" dt="2020-12-02T10:50:02.199" v="3656" actId="2696"/>
        <pc:sldMkLst>
          <pc:docMk/>
          <pc:sldMk cId="1385239385" sldId="310"/>
        </pc:sldMkLst>
        <pc:spChg chg="mod">
          <ac:chgData name="Meyer Raphael (KOM-PGA-VSF)" userId="79615dfe-ed48-4e74-a40f-4f7b034c1c27" providerId="ADAL" clId="{96D77013-12DF-4911-886E-DED6CCA30677}" dt="2020-11-25T13:52:37.127" v="3346"/>
          <ac:spMkLst>
            <pc:docMk/>
            <pc:sldMk cId="1385239385" sldId="310"/>
            <ac:spMk id="2" creationId="{A2DC317F-F1F4-4624-8FC1-3B68C1DBB3DA}"/>
          </ac:spMkLst>
        </pc:spChg>
        <pc:spChg chg="del">
          <ac:chgData name="Meyer Raphael (KOM-PGA-VSF)" userId="79615dfe-ed48-4e74-a40f-4f7b034c1c27" providerId="ADAL" clId="{96D77013-12DF-4911-886E-DED6CCA30677}" dt="2020-11-25T13:52:59.815" v="3348" actId="478"/>
          <ac:spMkLst>
            <pc:docMk/>
            <pc:sldMk cId="1385239385" sldId="310"/>
            <ac:spMk id="7" creationId="{BA3F9A72-0541-4D1F-8CD8-1C2B8074FA1B}"/>
          </ac:spMkLst>
        </pc:spChg>
        <pc:spChg chg="del">
          <ac:chgData name="Meyer Raphael (KOM-PGA-VSF)" userId="79615dfe-ed48-4e74-a40f-4f7b034c1c27" providerId="ADAL" clId="{96D77013-12DF-4911-886E-DED6CCA30677}" dt="2020-11-25T13:53:15.694" v="3350" actId="478"/>
          <ac:spMkLst>
            <pc:docMk/>
            <pc:sldMk cId="1385239385" sldId="310"/>
            <ac:spMk id="8" creationId="{5857C2A1-2CB8-4D4A-AEFD-E809BF73D04F}"/>
          </ac:spMkLst>
        </pc:spChg>
        <pc:spChg chg="del">
          <ac:chgData name="Meyer Raphael (KOM-PGA-VSF)" userId="79615dfe-ed48-4e74-a40f-4f7b034c1c27" providerId="ADAL" clId="{96D77013-12DF-4911-886E-DED6CCA30677}" dt="2020-11-25T13:52:59.815" v="3348" actId="478"/>
          <ac:spMkLst>
            <pc:docMk/>
            <pc:sldMk cId="1385239385" sldId="310"/>
            <ac:spMk id="9" creationId="{B6990B61-32B2-4ADC-BF01-EDF7B4080F97}"/>
          </ac:spMkLst>
        </pc:spChg>
        <pc:spChg chg="mod">
          <ac:chgData name="Meyer Raphael (KOM-PGA-VSF)" userId="79615dfe-ed48-4e74-a40f-4f7b034c1c27" providerId="ADAL" clId="{96D77013-12DF-4911-886E-DED6CCA30677}" dt="2020-11-25T13:52:51.299" v="3347"/>
          <ac:spMkLst>
            <pc:docMk/>
            <pc:sldMk cId="1385239385" sldId="310"/>
            <ac:spMk id="10" creationId="{077DFD58-E5EE-4B68-9325-D935DB04DD40}"/>
          </ac:spMkLst>
        </pc:spChg>
        <pc:spChg chg="del">
          <ac:chgData name="Meyer Raphael (KOM-PGA-VSF)" userId="79615dfe-ed48-4e74-a40f-4f7b034c1c27" providerId="ADAL" clId="{96D77013-12DF-4911-886E-DED6CCA30677}" dt="2020-11-25T13:53:48.821" v="3358" actId="478"/>
          <ac:spMkLst>
            <pc:docMk/>
            <pc:sldMk cId="1385239385" sldId="310"/>
            <ac:spMk id="17" creationId="{785E740C-F94A-4208-8DFD-63A603C16577}"/>
          </ac:spMkLst>
        </pc:spChg>
        <pc:spChg chg="del">
          <ac:chgData name="Meyer Raphael (KOM-PGA-VSF)" userId="79615dfe-ed48-4e74-a40f-4f7b034c1c27" providerId="ADAL" clId="{96D77013-12DF-4911-886E-DED6CCA30677}" dt="2020-11-25T13:54:17.516" v="3361" actId="478"/>
          <ac:spMkLst>
            <pc:docMk/>
            <pc:sldMk cId="1385239385" sldId="310"/>
            <ac:spMk id="21" creationId="{EC5D28F0-DE30-4BF9-9229-A24B6644F176}"/>
          </ac:spMkLst>
        </pc:spChg>
        <pc:spChg chg="del">
          <ac:chgData name="Meyer Raphael (KOM-PGA-VSF)" userId="79615dfe-ed48-4e74-a40f-4f7b034c1c27" providerId="ADAL" clId="{96D77013-12DF-4911-886E-DED6CCA30677}" dt="2020-11-25T13:53:51.372" v="3359" actId="478"/>
          <ac:spMkLst>
            <pc:docMk/>
            <pc:sldMk cId="1385239385" sldId="310"/>
            <ac:spMk id="26" creationId="{BFD498B5-D73E-4C8A-9FAF-B3547647538C}"/>
          </ac:spMkLst>
        </pc:spChg>
        <pc:spChg chg="mod">
          <ac:chgData name="Meyer Raphael (KOM-PGA-VSF)" userId="79615dfe-ed48-4e74-a40f-4f7b034c1c27" providerId="ADAL" clId="{96D77013-12DF-4911-886E-DED6CCA30677}" dt="2020-12-02T10:49:37.600" v="3650" actId="6549"/>
          <ac:spMkLst>
            <pc:docMk/>
            <pc:sldMk cId="1385239385" sldId="310"/>
            <ac:spMk id="27" creationId="{46A6B042-39EE-4A58-BBAA-13D52264B660}"/>
          </ac:spMkLst>
        </pc:spChg>
        <pc:spChg chg="del">
          <ac:chgData name="Meyer Raphael (KOM-PGA-VSF)" userId="79615dfe-ed48-4e74-a40f-4f7b034c1c27" providerId="ADAL" clId="{96D77013-12DF-4911-886E-DED6CCA30677}" dt="2020-11-25T13:54:20.058" v="3362" actId="478"/>
          <ac:spMkLst>
            <pc:docMk/>
            <pc:sldMk cId="1385239385" sldId="310"/>
            <ac:spMk id="33" creationId="{18E4FD3A-0462-4CBE-B9ED-76EFB02AE0FB}"/>
          </ac:spMkLst>
        </pc:spChg>
        <pc:spChg chg="add">
          <ac:chgData name="Meyer Raphael (KOM-PGA-VSF)" userId="79615dfe-ed48-4e74-a40f-4f7b034c1c27" providerId="ADAL" clId="{96D77013-12DF-4911-886E-DED6CCA30677}" dt="2020-11-25T13:53:07.387" v="3349"/>
          <ac:spMkLst>
            <pc:docMk/>
            <pc:sldMk cId="1385239385" sldId="310"/>
            <ac:spMk id="36" creationId="{7DA1DF1C-8159-4505-BDFF-D45EC7FBC2C3}"/>
          </ac:spMkLst>
        </pc:spChg>
        <pc:spChg chg="add">
          <ac:chgData name="Meyer Raphael (KOM-PGA-VSF)" userId="79615dfe-ed48-4e74-a40f-4f7b034c1c27" providerId="ADAL" clId="{96D77013-12DF-4911-886E-DED6CCA30677}" dt="2020-11-25T13:53:07.387" v="3349"/>
          <ac:spMkLst>
            <pc:docMk/>
            <pc:sldMk cId="1385239385" sldId="310"/>
            <ac:spMk id="37" creationId="{589515B9-A7A2-4FF0-B377-CCD7DFF60257}"/>
          </ac:spMkLst>
        </pc:spChg>
        <pc:spChg chg="add mod">
          <ac:chgData name="Meyer Raphael (KOM-PGA-VSF)" userId="79615dfe-ed48-4e74-a40f-4f7b034c1c27" providerId="ADAL" clId="{96D77013-12DF-4911-886E-DED6CCA30677}" dt="2020-12-02T10:49:39.691" v="3652" actId="6549"/>
          <ac:spMkLst>
            <pc:docMk/>
            <pc:sldMk cId="1385239385" sldId="310"/>
            <ac:spMk id="38" creationId="{96C40311-7EB7-41CE-A9B8-02567E778346}"/>
          </ac:spMkLst>
        </pc:spChg>
        <pc:spChg chg="add">
          <ac:chgData name="Meyer Raphael (KOM-PGA-VSF)" userId="79615dfe-ed48-4e74-a40f-4f7b034c1c27" providerId="ADAL" clId="{96D77013-12DF-4911-886E-DED6CCA30677}" dt="2020-11-25T13:53:58.071" v="3360"/>
          <ac:spMkLst>
            <pc:docMk/>
            <pc:sldMk cId="1385239385" sldId="310"/>
            <ac:spMk id="40" creationId="{595B3D45-2978-44F6-BAA6-55091833E629}"/>
          </ac:spMkLst>
        </pc:spChg>
        <pc:spChg chg="add">
          <ac:chgData name="Meyer Raphael (KOM-PGA-VSF)" userId="79615dfe-ed48-4e74-a40f-4f7b034c1c27" providerId="ADAL" clId="{96D77013-12DF-4911-886E-DED6CCA30677}" dt="2020-11-25T13:53:58.071" v="3360"/>
          <ac:spMkLst>
            <pc:docMk/>
            <pc:sldMk cId="1385239385" sldId="310"/>
            <ac:spMk id="41" creationId="{60A5F192-D7C9-4381-8A07-53C57DBBFFF9}"/>
          </ac:spMkLst>
        </pc:spChg>
        <pc:spChg chg="add mod">
          <ac:chgData name="Meyer Raphael (KOM-PGA-VSF)" userId="79615dfe-ed48-4e74-a40f-4f7b034c1c27" providerId="ADAL" clId="{96D77013-12DF-4911-886E-DED6CCA30677}" dt="2020-11-25T13:54:26.264" v="3364" actId="1037"/>
          <ac:spMkLst>
            <pc:docMk/>
            <pc:sldMk cId="1385239385" sldId="310"/>
            <ac:spMk id="42" creationId="{867DACC2-D0FA-449B-A0B9-ACD5901D15E0}"/>
          </ac:spMkLst>
        </pc:spChg>
        <pc:spChg chg="add mod">
          <ac:chgData name="Meyer Raphael (KOM-PGA-VSF)" userId="79615dfe-ed48-4e74-a40f-4f7b034c1c27" providerId="ADAL" clId="{96D77013-12DF-4911-886E-DED6CCA30677}" dt="2020-11-25T13:54:28.723" v="3365" actId="1037"/>
          <ac:spMkLst>
            <pc:docMk/>
            <pc:sldMk cId="1385239385" sldId="310"/>
            <ac:spMk id="43" creationId="{38A9D91F-EF44-4762-BC82-AE228667DBB1}"/>
          </ac:spMkLst>
        </pc:spChg>
        <pc:cxnChg chg="del mod">
          <ac:chgData name="Meyer Raphael (KOM-PGA-VSF)" userId="79615dfe-ed48-4e74-a40f-4f7b034c1c27" providerId="ADAL" clId="{96D77013-12DF-4911-886E-DED6CCA30677}" dt="2020-11-25T13:53:15.694" v="3350" actId="478"/>
          <ac:cxnSpMkLst>
            <pc:docMk/>
            <pc:sldMk cId="1385239385" sldId="310"/>
            <ac:cxnSpMk id="20" creationId="{07FCC63F-5E2F-43DF-84ED-5FFEC92A0042}"/>
          </ac:cxnSpMkLst>
        </pc:cxnChg>
        <pc:cxnChg chg="add">
          <ac:chgData name="Meyer Raphael (KOM-PGA-VSF)" userId="79615dfe-ed48-4e74-a40f-4f7b034c1c27" providerId="ADAL" clId="{96D77013-12DF-4911-886E-DED6CCA30677}" dt="2020-11-25T13:53:21.541" v="3351"/>
          <ac:cxnSpMkLst>
            <pc:docMk/>
            <pc:sldMk cId="1385239385" sldId="310"/>
            <ac:cxnSpMk id="39" creationId="{2E82DAAA-6968-4AFC-B18C-50CDAEFBA335}"/>
          </ac:cxnSpMkLst>
        </pc:cxnChg>
      </pc:sldChg>
      <pc:sldChg chg="addSp delSp modSp add del">
        <pc:chgData name="Meyer Raphael (KOM-PGA-VSF)" userId="79615dfe-ed48-4e74-a40f-4f7b034c1c27" providerId="ADAL" clId="{96D77013-12DF-4911-886E-DED6CCA30677}" dt="2020-12-09T12:16:03.996" v="3888" actId="2696"/>
        <pc:sldMkLst>
          <pc:docMk/>
          <pc:sldMk cId="3398592613" sldId="311"/>
        </pc:sldMkLst>
        <pc:spChg chg="mod">
          <ac:chgData name="Meyer Raphael (KOM-PGA-VSF)" userId="79615dfe-ed48-4e74-a40f-4f7b034c1c27" providerId="ADAL" clId="{96D77013-12DF-4911-886E-DED6CCA30677}" dt="2020-12-02T10:39:39.033" v="3489"/>
          <ac:spMkLst>
            <pc:docMk/>
            <pc:sldMk cId="3398592613" sldId="311"/>
            <ac:spMk id="2" creationId="{A2DC317F-F1F4-4624-8FC1-3B68C1DBB3DA}"/>
          </ac:spMkLst>
        </pc:spChg>
        <pc:spChg chg="mod">
          <ac:chgData name="Meyer Raphael (KOM-PGA-VSF)" userId="79615dfe-ed48-4e74-a40f-4f7b034c1c27" providerId="ADAL" clId="{96D77013-12DF-4911-886E-DED6CCA30677}" dt="2020-12-02T10:40:07.286" v="3491" actId="20577"/>
          <ac:spMkLst>
            <pc:docMk/>
            <pc:sldMk cId="3398592613" sldId="311"/>
            <ac:spMk id="4" creationId="{FE424811-9A99-46D3-9443-AAB22DAEAB5A}"/>
          </ac:spMkLst>
        </pc:spChg>
        <pc:spChg chg="del">
          <ac:chgData name="Meyer Raphael (KOM-PGA-VSF)" userId="79615dfe-ed48-4e74-a40f-4f7b034c1c27" providerId="ADAL" clId="{96D77013-12DF-4911-886E-DED6CCA30677}" dt="2020-12-02T10:40:41.496" v="3494" actId="478"/>
          <ac:spMkLst>
            <pc:docMk/>
            <pc:sldMk cId="3398592613" sldId="311"/>
            <ac:spMk id="7" creationId="{BA3F9A72-0541-4D1F-8CD8-1C2B8074FA1B}"/>
          </ac:spMkLst>
        </pc:spChg>
        <pc:spChg chg="del">
          <ac:chgData name="Meyer Raphael (KOM-PGA-VSF)" userId="79615dfe-ed48-4e74-a40f-4f7b034c1c27" providerId="ADAL" clId="{96D77013-12DF-4911-886E-DED6CCA30677}" dt="2020-12-02T10:40:41.496" v="3494" actId="478"/>
          <ac:spMkLst>
            <pc:docMk/>
            <pc:sldMk cId="3398592613" sldId="311"/>
            <ac:spMk id="8" creationId="{5857C2A1-2CB8-4D4A-AEFD-E809BF73D04F}"/>
          </ac:spMkLst>
        </pc:spChg>
        <pc:spChg chg="del">
          <ac:chgData name="Meyer Raphael (KOM-PGA-VSF)" userId="79615dfe-ed48-4e74-a40f-4f7b034c1c27" providerId="ADAL" clId="{96D77013-12DF-4911-886E-DED6CCA30677}" dt="2020-12-02T10:40:41.496" v="3494" actId="478"/>
          <ac:spMkLst>
            <pc:docMk/>
            <pc:sldMk cId="3398592613" sldId="311"/>
            <ac:spMk id="9" creationId="{B6990B61-32B2-4ADC-BF01-EDF7B4080F97}"/>
          </ac:spMkLst>
        </pc:spChg>
        <pc:spChg chg="mod">
          <ac:chgData name="Meyer Raphael (KOM-PGA-VSF)" userId="79615dfe-ed48-4e74-a40f-4f7b034c1c27" providerId="ADAL" clId="{96D77013-12DF-4911-886E-DED6CCA30677}" dt="2020-12-02T10:39:51.561" v="3490"/>
          <ac:spMkLst>
            <pc:docMk/>
            <pc:sldMk cId="3398592613" sldId="311"/>
            <ac:spMk id="10" creationId="{077DFD58-E5EE-4B68-9325-D935DB04DD40}"/>
          </ac:spMkLst>
        </pc:spChg>
        <pc:spChg chg="del">
          <ac:chgData name="Meyer Raphael (KOM-PGA-VSF)" userId="79615dfe-ed48-4e74-a40f-4f7b034c1c27" providerId="ADAL" clId="{96D77013-12DF-4911-886E-DED6CCA30677}" dt="2020-12-02T10:40:41.496" v="3494" actId="478"/>
          <ac:spMkLst>
            <pc:docMk/>
            <pc:sldMk cId="3398592613" sldId="311"/>
            <ac:spMk id="17" creationId="{785E740C-F94A-4208-8DFD-63A603C16577}"/>
          </ac:spMkLst>
        </pc:spChg>
        <pc:spChg chg="del">
          <ac:chgData name="Meyer Raphael (KOM-PGA-VSF)" userId="79615dfe-ed48-4e74-a40f-4f7b034c1c27" providerId="ADAL" clId="{96D77013-12DF-4911-886E-DED6CCA30677}" dt="2020-12-02T10:43:50.309" v="3520" actId="478"/>
          <ac:spMkLst>
            <pc:docMk/>
            <pc:sldMk cId="3398592613" sldId="311"/>
            <ac:spMk id="21" creationId="{EC5D28F0-DE30-4BF9-9229-A24B6644F176}"/>
          </ac:spMkLst>
        </pc:spChg>
        <pc:spChg chg="del">
          <ac:chgData name="Meyer Raphael (KOM-PGA-VSF)" userId="79615dfe-ed48-4e74-a40f-4f7b034c1c27" providerId="ADAL" clId="{96D77013-12DF-4911-886E-DED6CCA30677}" dt="2020-12-02T10:40:41.496" v="3494" actId="478"/>
          <ac:spMkLst>
            <pc:docMk/>
            <pc:sldMk cId="3398592613" sldId="311"/>
            <ac:spMk id="26" creationId="{BFD498B5-D73E-4C8A-9FAF-B3547647538C}"/>
          </ac:spMkLst>
        </pc:spChg>
        <pc:spChg chg="mod">
          <ac:chgData name="Meyer Raphael (KOM-PGA-VSF)" userId="79615dfe-ed48-4e74-a40f-4f7b034c1c27" providerId="ADAL" clId="{96D77013-12DF-4911-886E-DED6CCA30677}" dt="2020-12-02T10:41:17.743" v="3496"/>
          <ac:spMkLst>
            <pc:docMk/>
            <pc:sldMk cId="3398592613" sldId="311"/>
            <ac:spMk id="27" creationId="{46A6B042-39EE-4A58-BBAA-13D52264B660}"/>
          </ac:spMkLst>
        </pc:spChg>
        <pc:spChg chg="mod">
          <ac:chgData name="Meyer Raphael (KOM-PGA-VSF)" userId="79615dfe-ed48-4e74-a40f-4f7b034c1c27" providerId="ADAL" clId="{96D77013-12DF-4911-886E-DED6CCA30677}" dt="2020-12-02T10:44:05.777" v="3559" actId="552"/>
          <ac:spMkLst>
            <pc:docMk/>
            <pc:sldMk cId="3398592613" sldId="311"/>
            <ac:spMk id="33" creationId="{18E4FD3A-0462-4CBE-B9ED-76EFB02AE0FB}"/>
          </ac:spMkLst>
        </pc:spChg>
        <pc:spChg chg="add mod">
          <ac:chgData name="Meyer Raphael (KOM-PGA-VSF)" userId="79615dfe-ed48-4e74-a40f-4f7b034c1c27" providerId="ADAL" clId="{96D77013-12DF-4911-886E-DED6CCA30677}" dt="2020-12-02T10:41:27.422" v="3498" actId="20577"/>
          <ac:spMkLst>
            <pc:docMk/>
            <pc:sldMk cId="3398592613" sldId="311"/>
            <ac:spMk id="36" creationId="{9B86410A-3B34-44EA-9927-A5D6A9BFB3C1}"/>
          </ac:spMkLst>
        </pc:spChg>
        <pc:spChg chg="add mod">
          <ac:chgData name="Meyer Raphael (KOM-PGA-VSF)" userId="79615dfe-ed48-4e74-a40f-4f7b034c1c27" providerId="ADAL" clId="{96D77013-12DF-4911-886E-DED6CCA30677}" dt="2020-12-02T10:51:03.315" v="3701" actId="20577"/>
          <ac:spMkLst>
            <pc:docMk/>
            <pc:sldMk cId="3398592613" sldId="311"/>
            <ac:spMk id="37" creationId="{86E8790F-A6D7-4A67-99E8-0D8B2A377AC2}"/>
          </ac:spMkLst>
        </pc:spChg>
        <pc:spChg chg="add mod">
          <ac:chgData name="Meyer Raphael (KOM-PGA-VSF)" userId="79615dfe-ed48-4e74-a40f-4f7b034c1c27" providerId="ADAL" clId="{96D77013-12DF-4911-886E-DED6CCA30677}" dt="2020-12-02T10:50:58.761" v="3699" actId="20577"/>
          <ac:spMkLst>
            <pc:docMk/>
            <pc:sldMk cId="3398592613" sldId="311"/>
            <ac:spMk id="38" creationId="{AD315BA4-CB53-481E-9364-7871857B7B57}"/>
          </ac:spMkLst>
        </pc:spChg>
        <pc:spChg chg="add">
          <ac:chgData name="Meyer Raphael (KOM-PGA-VSF)" userId="79615dfe-ed48-4e74-a40f-4f7b034c1c27" providerId="ADAL" clId="{96D77013-12DF-4911-886E-DED6CCA30677}" dt="2020-12-02T10:40:57.292" v="3495"/>
          <ac:spMkLst>
            <pc:docMk/>
            <pc:sldMk cId="3398592613" sldId="311"/>
            <ac:spMk id="39" creationId="{4F76A539-CA48-4221-96AF-2F89AD1E563E}"/>
          </ac:spMkLst>
        </pc:spChg>
        <pc:spChg chg="add">
          <ac:chgData name="Meyer Raphael (KOM-PGA-VSF)" userId="79615dfe-ed48-4e74-a40f-4f7b034c1c27" providerId="ADAL" clId="{96D77013-12DF-4911-886E-DED6CCA30677}" dt="2020-12-02T10:40:57.292" v="3495"/>
          <ac:spMkLst>
            <pc:docMk/>
            <pc:sldMk cId="3398592613" sldId="311"/>
            <ac:spMk id="40" creationId="{A7D69D46-2B5B-4B18-90FA-4A09BB54D1D0}"/>
          </ac:spMkLst>
        </pc:spChg>
        <pc:spChg chg="add mod">
          <ac:chgData name="Meyer Raphael (KOM-PGA-VSF)" userId="79615dfe-ed48-4e74-a40f-4f7b034c1c27" providerId="ADAL" clId="{96D77013-12DF-4911-886E-DED6CCA30677}" dt="2020-12-02T10:44:05.777" v="3559" actId="552"/>
          <ac:spMkLst>
            <pc:docMk/>
            <pc:sldMk cId="3398592613" sldId="311"/>
            <ac:spMk id="41" creationId="{76C7829F-6285-47AF-919E-BC9CF59E2E00}"/>
          </ac:spMkLst>
        </pc:spChg>
        <pc:cxnChg chg="mod">
          <ac:chgData name="Meyer Raphael (KOM-PGA-VSF)" userId="79615dfe-ed48-4e74-a40f-4f7b034c1c27" providerId="ADAL" clId="{96D77013-12DF-4911-886E-DED6CCA30677}" dt="2020-12-02T10:40:41.496" v="3494" actId="478"/>
          <ac:cxnSpMkLst>
            <pc:docMk/>
            <pc:sldMk cId="3398592613" sldId="311"/>
            <ac:cxnSpMk id="20" creationId="{07FCC63F-5E2F-43DF-84ED-5FFEC92A0042}"/>
          </ac:cxnSpMkLst>
        </pc:cxnChg>
      </pc:sldChg>
      <pc:sldChg chg="addSp delSp modSp add del">
        <pc:chgData name="Meyer Raphael (KOM-PGA-VSF)" userId="79615dfe-ed48-4e74-a40f-4f7b034c1c27" providerId="ADAL" clId="{96D77013-12DF-4911-886E-DED6CCA30677}" dt="2020-12-09T12:19:16.108" v="3923" actId="2696"/>
        <pc:sldMkLst>
          <pc:docMk/>
          <pc:sldMk cId="2874421344" sldId="312"/>
        </pc:sldMkLst>
        <pc:spChg chg="del">
          <ac:chgData name="Meyer Raphael (KOM-PGA-VSF)" userId="79615dfe-ed48-4e74-a40f-4f7b034c1c27" providerId="ADAL" clId="{96D77013-12DF-4911-886E-DED6CCA30677}" dt="2020-12-02T10:45:03.999" v="3564" actId="478"/>
          <ac:spMkLst>
            <pc:docMk/>
            <pc:sldMk cId="2874421344" sldId="312"/>
            <ac:spMk id="2" creationId="{A2DC317F-F1F4-4624-8FC1-3B68C1DBB3DA}"/>
          </ac:spMkLst>
        </pc:spChg>
        <pc:spChg chg="mod">
          <ac:chgData name="Meyer Raphael (KOM-PGA-VSF)" userId="79615dfe-ed48-4e74-a40f-4f7b034c1c27" providerId="ADAL" clId="{96D77013-12DF-4911-886E-DED6CCA30677}" dt="2020-12-02T10:40:18.396" v="3493" actId="20577"/>
          <ac:spMkLst>
            <pc:docMk/>
            <pc:sldMk cId="2874421344" sldId="312"/>
            <ac:spMk id="4" creationId="{FE424811-9A99-46D3-9443-AAB22DAEAB5A}"/>
          </ac:spMkLst>
        </pc:spChg>
        <pc:spChg chg="add del mod">
          <ac:chgData name="Meyer Raphael (KOM-PGA-VSF)" userId="79615dfe-ed48-4e74-a40f-4f7b034c1c27" providerId="ADAL" clId="{96D77013-12DF-4911-886E-DED6CCA30677}" dt="2020-12-02T10:46:24.190" v="3575" actId="478"/>
          <ac:spMkLst>
            <pc:docMk/>
            <pc:sldMk cId="2874421344" sldId="312"/>
            <ac:spMk id="6" creationId="{FA4603BD-6EA2-49CA-A0E1-3AC5EEEE71AF}"/>
          </ac:spMkLst>
        </pc:spChg>
        <pc:spChg chg="del">
          <ac:chgData name="Meyer Raphael (KOM-PGA-VSF)" userId="79615dfe-ed48-4e74-a40f-4f7b034c1c27" providerId="ADAL" clId="{96D77013-12DF-4911-886E-DED6CCA30677}" dt="2020-12-02T10:45:03.999" v="3564" actId="478"/>
          <ac:spMkLst>
            <pc:docMk/>
            <pc:sldMk cId="2874421344" sldId="312"/>
            <ac:spMk id="7" creationId="{BA3F9A72-0541-4D1F-8CD8-1C2B8074FA1B}"/>
          </ac:spMkLst>
        </pc:spChg>
        <pc:spChg chg="del">
          <ac:chgData name="Meyer Raphael (KOM-PGA-VSF)" userId="79615dfe-ed48-4e74-a40f-4f7b034c1c27" providerId="ADAL" clId="{96D77013-12DF-4911-886E-DED6CCA30677}" dt="2020-12-02T10:45:03.999" v="3564" actId="478"/>
          <ac:spMkLst>
            <pc:docMk/>
            <pc:sldMk cId="2874421344" sldId="312"/>
            <ac:spMk id="8" creationId="{5857C2A1-2CB8-4D4A-AEFD-E809BF73D04F}"/>
          </ac:spMkLst>
        </pc:spChg>
        <pc:spChg chg="del">
          <ac:chgData name="Meyer Raphael (KOM-PGA-VSF)" userId="79615dfe-ed48-4e74-a40f-4f7b034c1c27" providerId="ADAL" clId="{96D77013-12DF-4911-886E-DED6CCA30677}" dt="2020-12-02T10:45:03.999" v="3564" actId="478"/>
          <ac:spMkLst>
            <pc:docMk/>
            <pc:sldMk cId="2874421344" sldId="312"/>
            <ac:spMk id="9" creationId="{B6990B61-32B2-4ADC-BF01-EDF7B4080F97}"/>
          </ac:spMkLst>
        </pc:spChg>
        <pc:spChg chg="del">
          <ac:chgData name="Meyer Raphael (KOM-PGA-VSF)" userId="79615dfe-ed48-4e74-a40f-4f7b034c1c27" providerId="ADAL" clId="{96D77013-12DF-4911-886E-DED6CCA30677}" dt="2020-12-02T10:45:03.999" v="3564" actId="478"/>
          <ac:spMkLst>
            <pc:docMk/>
            <pc:sldMk cId="2874421344" sldId="312"/>
            <ac:spMk id="10" creationId="{077DFD58-E5EE-4B68-9325-D935DB04DD40}"/>
          </ac:spMkLst>
        </pc:spChg>
        <pc:spChg chg="del">
          <ac:chgData name="Meyer Raphael (KOM-PGA-VSF)" userId="79615dfe-ed48-4e74-a40f-4f7b034c1c27" providerId="ADAL" clId="{96D77013-12DF-4911-886E-DED6CCA30677}" dt="2020-12-02T10:45:03.999" v="3564" actId="478"/>
          <ac:spMkLst>
            <pc:docMk/>
            <pc:sldMk cId="2874421344" sldId="312"/>
            <ac:spMk id="17" creationId="{785E740C-F94A-4208-8DFD-63A603C16577}"/>
          </ac:spMkLst>
        </pc:spChg>
        <pc:spChg chg="del mod">
          <ac:chgData name="Meyer Raphael (KOM-PGA-VSF)" userId="79615dfe-ed48-4e74-a40f-4f7b034c1c27" providerId="ADAL" clId="{96D77013-12DF-4911-886E-DED6CCA30677}" dt="2020-12-02T10:47:57.512" v="3591" actId="478"/>
          <ac:spMkLst>
            <pc:docMk/>
            <pc:sldMk cId="2874421344" sldId="312"/>
            <ac:spMk id="21" creationId="{EC5D28F0-DE30-4BF9-9229-A24B6644F176}"/>
          </ac:spMkLst>
        </pc:spChg>
        <pc:spChg chg="del">
          <ac:chgData name="Meyer Raphael (KOM-PGA-VSF)" userId="79615dfe-ed48-4e74-a40f-4f7b034c1c27" providerId="ADAL" clId="{96D77013-12DF-4911-886E-DED6CCA30677}" dt="2020-12-02T10:45:03.999" v="3564" actId="478"/>
          <ac:spMkLst>
            <pc:docMk/>
            <pc:sldMk cId="2874421344" sldId="312"/>
            <ac:spMk id="26" creationId="{BFD498B5-D73E-4C8A-9FAF-B3547647538C}"/>
          </ac:spMkLst>
        </pc:spChg>
        <pc:spChg chg="mod">
          <ac:chgData name="Meyer Raphael (KOM-PGA-VSF)" userId="79615dfe-ed48-4e74-a40f-4f7b034c1c27" providerId="ADAL" clId="{96D77013-12DF-4911-886E-DED6CCA30677}" dt="2020-12-02T10:45:56.747" v="3571" actId="14100"/>
          <ac:spMkLst>
            <pc:docMk/>
            <pc:sldMk cId="2874421344" sldId="312"/>
            <ac:spMk id="27" creationId="{46A6B042-39EE-4A58-BBAA-13D52264B660}"/>
          </ac:spMkLst>
        </pc:spChg>
        <pc:spChg chg="del mod">
          <ac:chgData name="Meyer Raphael (KOM-PGA-VSF)" userId="79615dfe-ed48-4e74-a40f-4f7b034c1c27" providerId="ADAL" clId="{96D77013-12DF-4911-886E-DED6CCA30677}" dt="2020-12-02T10:47:57.512" v="3591" actId="478"/>
          <ac:spMkLst>
            <pc:docMk/>
            <pc:sldMk cId="2874421344" sldId="312"/>
            <ac:spMk id="33" creationId="{18E4FD3A-0462-4CBE-B9ED-76EFB02AE0FB}"/>
          </ac:spMkLst>
        </pc:spChg>
        <pc:spChg chg="add del">
          <ac:chgData name="Meyer Raphael (KOM-PGA-VSF)" userId="79615dfe-ed48-4e74-a40f-4f7b034c1c27" providerId="ADAL" clId="{96D77013-12DF-4911-886E-DED6CCA30677}" dt="2020-12-02T10:46:21.113" v="3574" actId="478"/>
          <ac:spMkLst>
            <pc:docMk/>
            <pc:sldMk cId="2874421344" sldId="312"/>
            <ac:spMk id="36" creationId="{7147D615-B09E-46F5-B8F8-A70F83A6E7C4}"/>
          </ac:spMkLst>
        </pc:spChg>
        <pc:spChg chg="add">
          <ac:chgData name="Meyer Raphael (KOM-PGA-VSF)" userId="79615dfe-ed48-4e74-a40f-4f7b034c1c27" providerId="ADAL" clId="{96D77013-12DF-4911-886E-DED6CCA30677}" dt="2020-12-02T10:45:17.518" v="3565"/>
          <ac:spMkLst>
            <pc:docMk/>
            <pc:sldMk cId="2874421344" sldId="312"/>
            <ac:spMk id="37" creationId="{FC963CB8-3BFC-46CD-BB40-79526C3429E6}"/>
          </ac:spMkLst>
        </pc:spChg>
        <pc:spChg chg="add mod">
          <ac:chgData name="Meyer Raphael (KOM-PGA-VSF)" userId="79615dfe-ed48-4e74-a40f-4f7b034c1c27" providerId="ADAL" clId="{96D77013-12DF-4911-886E-DED6CCA30677}" dt="2020-12-09T12:17:11.002" v="3905" actId="1076"/>
          <ac:spMkLst>
            <pc:docMk/>
            <pc:sldMk cId="2874421344" sldId="312"/>
            <ac:spMk id="38" creationId="{100AE228-7811-43BF-BB60-68C1F32CC4FA}"/>
          </ac:spMkLst>
        </pc:spChg>
        <pc:spChg chg="add mod">
          <ac:chgData name="Meyer Raphael (KOM-PGA-VSF)" userId="79615dfe-ed48-4e74-a40f-4f7b034c1c27" providerId="ADAL" clId="{96D77013-12DF-4911-886E-DED6CCA30677}" dt="2020-12-09T12:17:11.002" v="3905" actId="1076"/>
          <ac:spMkLst>
            <pc:docMk/>
            <pc:sldMk cId="2874421344" sldId="312"/>
            <ac:spMk id="39" creationId="{1FC7AFF1-4B3B-4501-9A04-87DAC5E18CA0}"/>
          </ac:spMkLst>
        </pc:spChg>
        <pc:spChg chg="add mod">
          <ac:chgData name="Meyer Raphael (KOM-PGA-VSF)" userId="79615dfe-ed48-4e74-a40f-4f7b034c1c27" providerId="ADAL" clId="{96D77013-12DF-4911-886E-DED6CCA30677}" dt="2020-12-02T10:46:01.584" v="3573" actId="20577"/>
          <ac:spMkLst>
            <pc:docMk/>
            <pc:sldMk cId="2874421344" sldId="312"/>
            <ac:spMk id="40" creationId="{F087FBA5-DF8F-4EF9-86E5-4818E85C9C6B}"/>
          </ac:spMkLst>
        </pc:spChg>
        <pc:spChg chg="add mod">
          <ac:chgData name="Meyer Raphael (KOM-PGA-VSF)" userId="79615dfe-ed48-4e74-a40f-4f7b034c1c27" providerId="ADAL" clId="{96D77013-12DF-4911-886E-DED6CCA30677}" dt="2020-12-09T12:17:11.002" v="3905" actId="1076"/>
          <ac:spMkLst>
            <pc:docMk/>
            <pc:sldMk cId="2874421344" sldId="312"/>
            <ac:spMk id="41" creationId="{8EF703AA-1164-491E-A67A-4CA5CE8918B8}"/>
          </ac:spMkLst>
        </pc:spChg>
        <pc:spChg chg="add mod">
          <ac:chgData name="Meyer Raphael (KOM-PGA-VSF)" userId="79615dfe-ed48-4e74-a40f-4f7b034c1c27" providerId="ADAL" clId="{96D77013-12DF-4911-886E-DED6CCA30677}" dt="2020-12-09T12:17:11.002" v="3905" actId="1076"/>
          <ac:spMkLst>
            <pc:docMk/>
            <pc:sldMk cId="2874421344" sldId="312"/>
            <ac:spMk id="42" creationId="{627A35E5-5BD3-492B-8880-29B634808377}"/>
          </ac:spMkLst>
        </pc:spChg>
        <pc:spChg chg="add">
          <ac:chgData name="Meyer Raphael (KOM-PGA-VSF)" userId="79615dfe-ed48-4e74-a40f-4f7b034c1c27" providerId="ADAL" clId="{96D77013-12DF-4911-886E-DED6CCA30677}" dt="2020-12-02T10:46:30.383" v="3576"/>
          <ac:spMkLst>
            <pc:docMk/>
            <pc:sldMk cId="2874421344" sldId="312"/>
            <ac:spMk id="43" creationId="{DA4FBA78-3F31-483D-8EA5-4328BE836B0F}"/>
          </ac:spMkLst>
        </pc:spChg>
        <pc:spChg chg="add mod">
          <ac:chgData name="Meyer Raphael (KOM-PGA-VSF)" userId="79615dfe-ed48-4e74-a40f-4f7b034c1c27" providerId="ADAL" clId="{96D77013-12DF-4911-886E-DED6CCA30677}" dt="2020-12-02T10:50:26.306" v="3693" actId="552"/>
          <ac:spMkLst>
            <pc:docMk/>
            <pc:sldMk cId="2874421344" sldId="312"/>
            <ac:spMk id="44" creationId="{B77AEC99-7053-41DB-9D66-11198B81AAA5}"/>
          </ac:spMkLst>
        </pc:spChg>
        <pc:spChg chg="add del">
          <ac:chgData name="Meyer Raphael (KOM-PGA-VSF)" userId="79615dfe-ed48-4e74-a40f-4f7b034c1c27" providerId="ADAL" clId="{96D77013-12DF-4911-886E-DED6CCA30677}" dt="2020-12-02T10:48:58.688" v="3608" actId="478"/>
          <ac:spMkLst>
            <pc:docMk/>
            <pc:sldMk cId="2874421344" sldId="312"/>
            <ac:spMk id="45" creationId="{59740038-C636-4053-A09E-DC061EF373E0}"/>
          </ac:spMkLst>
        </pc:spChg>
        <pc:spChg chg="add del mod">
          <ac:chgData name="Meyer Raphael (KOM-PGA-VSF)" userId="79615dfe-ed48-4e74-a40f-4f7b034c1c27" providerId="ADAL" clId="{96D77013-12DF-4911-886E-DED6CCA30677}" dt="2020-12-02T10:50:15.024" v="3658" actId="478"/>
          <ac:spMkLst>
            <pc:docMk/>
            <pc:sldMk cId="2874421344" sldId="312"/>
            <ac:spMk id="46" creationId="{832CAC1C-0470-4C89-9EB0-F4B629A40FB7}"/>
          </ac:spMkLst>
        </pc:spChg>
        <pc:spChg chg="add mod">
          <ac:chgData name="Meyer Raphael (KOM-PGA-VSF)" userId="79615dfe-ed48-4e74-a40f-4f7b034c1c27" providerId="ADAL" clId="{96D77013-12DF-4911-886E-DED6CCA30677}" dt="2020-12-02T10:50:26.306" v="3693" actId="552"/>
          <ac:spMkLst>
            <pc:docMk/>
            <pc:sldMk cId="2874421344" sldId="312"/>
            <ac:spMk id="47" creationId="{78DD18C4-1C75-4D14-AC11-6E52855FF369}"/>
          </ac:spMkLst>
        </pc:spChg>
        <pc:cxnChg chg="mod">
          <ac:chgData name="Meyer Raphael (KOM-PGA-VSF)" userId="79615dfe-ed48-4e74-a40f-4f7b034c1c27" providerId="ADAL" clId="{96D77013-12DF-4911-886E-DED6CCA30677}" dt="2020-12-02T10:45:03.999" v="3564" actId="478"/>
          <ac:cxnSpMkLst>
            <pc:docMk/>
            <pc:sldMk cId="2874421344" sldId="312"/>
            <ac:cxnSpMk id="20" creationId="{07FCC63F-5E2F-43DF-84ED-5FFEC92A0042}"/>
          </ac:cxnSpMkLst>
        </pc:cxnChg>
      </pc:sldChg>
      <pc:sldChg chg="addSp delSp modSp add del ord">
        <pc:chgData name="Meyer Raphael (KOM-PGA-VSF)" userId="79615dfe-ed48-4e74-a40f-4f7b034c1c27" providerId="ADAL" clId="{96D77013-12DF-4911-886E-DED6CCA30677}" dt="2020-12-16T10:37:07.978" v="4004" actId="2696"/>
        <pc:sldMkLst>
          <pc:docMk/>
          <pc:sldMk cId="1627822697" sldId="313"/>
        </pc:sldMkLst>
        <pc:spChg chg="mod">
          <ac:chgData name="Meyer Raphael (KOM-PGA-VSF)" userId="79615dfe-ed48-4e74-a40f-4f7b034c1c27" providerId="ADAL" clId="{96D77013-12DF-4911-886E-DED6CCA30677}" dt="2020-12-09T12:13:57.965" v="3870"/>
          <ac:spMkLst>
            <pc:docMk/>
            <pc:sldMk cId="1627822697" sldId="313"/>
            <ac:spMk id="2" creationId="{A2DC317F-F1F4-4624-8FC1-3B68C1DBB3DA}"/>
          </ac:spMkLst>
        </pc:spChg>
        <pc:spChg chg="add del">
          <ac:chgData name="Meyer Raphael (KOM-PGA-VSF)" userId="79615dfe-ed48-4e74-a40f-4f7b034c1c27" providerId="ADAL" clId="{96D77013-12DF-4911-886E-DED6CCA30677}" dt="2020-12-09T12:14:59.597" v="3878"/>
          <ac:spMkLst>
            <pc:docMk/>
            <pc:sldMk cId="1627822697" sldId="313"/>
            <ac:spMk id="3" creationId="{A0E95A08-44B8-4C1C-A3DC-9EBD21742533}"/>
          </ac:spMkLst>
        </pc:spChg>
        <pc:spChg chg="del">
          <ac:chgData name="Meyer Raphael (KOM-PGA-VSF)" userId="79615dfe-ed48-4e74-a40f-4f7b034c1c27" providerId="ADAL" clId="{96D77013-12DF-4911-886E-DED6CCA30677}" dt="2020-12-09T12:14:25.336" v="3872" actId="478"/>
          <ac:spMkLst>
            <pc:docMk/>
            <pc:sldMk cId="1627822697" sldId="313"/>
            <ac:spMk id="7" creationId="{BA3F9A72-0541-4D1F-8CD8-1C2B8074FA1B}"/>
          </ac:spMkLst>
        </pc:spChg>
        <pc:spChg chg="del">
          <ac:chgData name="Meyer Raphael (KOM-PGA-VSF)" userId="79615dfe-ed48-4e74-a40f-4f7b034c1c27" providerId="ADAL" clId="{96D77013-12DF-4911-886E-DED6CCA30677}" dt="2020-12-09T12:14:36.673" v="3876" actId="478"/>
          <ac:spMkLst>
            <pc:docMk/>
            <pc:sldMk cId="1627822697" sldId="313"/>
            <ac:spMk id="8" creationId="{5857C2A1-2CB8-4D4A-AEFD-E809BF73D04F}"/>
          </ac:spMkLst>
        </pc:spChg>
        <pc:spChg chg="del">
          <ac:chgData name="Meyer Raphael (KOM-PGA-VSF)" userId="79615dfe-ed48-4e74-a40f-4f7b034c1c27" providerId="ADAL" clId="{96D77013-12DF-4911-886E-DED6CCA30677}" dt="2020-12-09T12:14:27.824" v="3873" actId="478"/>
          <ac:spMkLst>
            <pc:docMk/>
            <pc:sldMk cId="1627822697" sldId="313"/>
            <ac:spMk id="9" creationId="{B6990B61-32B2-4ADC-BF01-EDF7B4080F97}"/>
          </ac:spMkLst>
        </pc:spChg>
        <pc:spChg chg="mod">
          <ac:chgData name="Meyer Raphael (KOM-PGA-VSF)" userId="79615dfe-ed48-4e74-a40f-4f7b034c1c27" providerId="ADAL" clId="{96D77013-12DF-4911-886E-DED6CCA30677}" dt="2020-12-09T12:14:07.435" v="3871"/>
          <ac:spMkLst>
            <pc:docMk/>
            <pc:sldMk cId="1627822697" sldId="313"/>
            <ac:spMk id="10" creationId="{077DFD58-E5EE-4B68-9325-D935DB04DD40}"/>
          </ac:spMkLst>
        </pc:spChg>
        <pc:spChg chg="del">
          <ac:chgData name="Meyer Raphael (KOM-PGA-VSF)" userId="79615dfe-ed48-4e74-a40f-4f7b034c1c27" providerId="ADAL" clId="{96D77013-12DF-4911-886E-DED6CCA30677}" dt="2020-12-09T12:14:33.963" v="3875" actId="478"/>
          <ac:spMkLst>
            <pc:docMk/>
            <pc:sldMk cId="1627822697" sldId="313"/>
            <ac:spMk id="17" creationId="{785E740C-F94A-4208-8DFD-63A603C16577}"/>
          </ac:spMkLst>
        </pc:spChg>
        <pc:spChg chg="del">
          <ac:chgData name="Meyer Raphael (KOM-PGA-VSF)" userId="79615dfe-ed48-4e74-a40f-4f7b034c1c27" providerId="ADAL" clId="{96D77013-12DF-4911-886E-DED6CCA30677}" dt="2020-12-09T12:14:31.009" v="3874" actId="478"/>
          <ac:spMkLst>
            <pc:docMk/>
            <pc:sldMk cId="1627822697" sldId="313"/>
            <ac:spMk id="26" creationId="{BFD498B5-D73E-4C8A-9FAF-B3547647538C}"/>
          </ac:spMkLst>
        </pc:spChg>
        <pc:spChg chg="mod">
          <ac:chgData name="Meyer Raphael (KOM-PGA-VSF)" userId="79615dfe-ed48-4e74-a40f-4f7b034c1c27" providerId="ADAL" clId="{96D77013-12DF-4911-886E-DED6CCA30677}" dt="2020-12-09T12:15:31.950" v="3882"/>
          <ac:spMkLst>
            <pc:docMk/>
            <pc:sldMk cId="1627822697" sldId="313"/>
            <ac:spMk id="27" creationId="{46A6B042-39EE-4A58-BBAA-13D52264B660}"/>
          </ac:spMkLst>
        </pc:spChg>
        <pc:spChg chg="add mod">
          <ac:chgData name="Meyer Raphael (KOM-PGA-VSF)" userId="79615dfe-ed48-4e74-a40f-4f7b034c1c27" providerId="ADAL" clId="{96D77013-12DF-4911-886E-DED6CCA30677}" dt="2020-12-09T12:15:16.004" v="3881" actId="20577"/>
          <ac:spMkLst>
            <pc:docMk/>
            <pc:sldMk cId="1627822697" sldId="313"/>
            <ac:spMk id="36" creationId="{0E043FF4-C8C2-481B-B235-442BA7C6AD9B}"/>
          </ac:spMkLst>
        </pc:spChg>
        <pc:spChg chg="add">
          <ac:chgData name="Meyer Raphael (KOM-PGA-VSF)" userId="79615dfe-ed48-4e74-a40f-4f7b034c1c27" providerId="ADAL" clId="{96D77013-12DF-4911-886E-DED6CCA30677}" dt="2020-12-09T12:15:11.312" v="3879"/>
          <ac:spMkLst>
            <pc:docMk/>
            <pc:sldMk cId="1627822697" sldId="313"/>
            <ac:spMk id="38" creationId="{48ACDD2C-6F1D-40EF-9B12-C188963437A1}"/>
          </ac:spMkLst>
        </pc:spChg>
        <pc:spChg chg="add">
          <ac:chgData name="Meyer Raphael (KOM-PGA-VSF)" userId="79615dfe-ed48-4e74-a40f-4f7b034c1c27" providerId="ADAL" clId="{96D77013-12DF-4911-886E-DED6CCA30677}" dt="2020-12-09T12:15:11.312" v="3879"/>
          <ac:spMkLst>
            <pc:docMk/>
            <pc:sldMk cId="1627822697" sldId="313"/>
            <ac:spMk id="39" creationId="{A58E27FA-8C44-406A-9262-DCAF643E5CDD}"/>
          </ac:spMkLst>
        </pc:spChg>
        <pc:spChg chg="add">
          <ac:chgData name="Meyer Raphael (KOM-PGA-VSF)" userId="79615dfe-ed48-4e74-a40f-4f7b034c1c27" providerId="ADAL" clId="{96D77013-12DF-4911-886E-DED6CCA30677}" dt="2020-12-09T12:15:11.312" v="3879"/>
          <ac:spMkLst>
            <pc:docMk/>
            <pc:sldMk cId="1627822697" sldId="313"/>
            <ac:spMk id="40" creationId="{1ACDFCF4-2487-4B98-8184-C6F3BFA664A5}"/>
          </ac:spMkLst>
        </pc:spChg>
        <pc:spChg chg="add">
          <ac:chgData name="Meyer Raphael (KOM-PGA-VSF)" userId="79615dfe-ed48-4e74-a40f-4f7b034c1c27" providerId="ADAL" clId="{96D77013-12DF-4911-886E-DED6CCA30677}" dt="2020-12-09T12:15:11.312" v="3879"/>
          <ac:spMkLst>
            <pc:docMk/>
            <pc:sldMk cId="1627822697" sldId="313"/>
            <ac:spMk id="41" creationId="{5D75E1CB-CD6F-41D8-AE1F-87FA9F18205C}"/>
          </ac:spMkLst>
        </pc:spChg>
        <pc:cxnChg chg="mod">
          <ac:chgData name="Meyer Raphael (KOM-PGA-VSF)" userId="79615dfe-ed48-4e74-a40f-4f7b034c1c27" providerId="ADAL" clId="{96D77013-12DF-4911-886E-DED6CCA30677}" dt="2020-12-09T12:14:36.673" v="3876" actId="478"/>
          <ac:cxnSpMkLst>
            <pc:docMk/>
            <pc:sldMk cId="1627822697" sldId="313"/>
            <ac:cxnSpMk id="20" creationId="{07FCC63F-5E2F-43DF-84ED-5FFEC92A0042}"/>
          </ac:cxnSpMkLst>
        </pc:cxnChg>
        <pc:cxnChg chg="mod">
          <ac:chgData name="Meyer Raphael (KOM-PGA-VSF)" userId="79615dfe-ed48-4e74-a40f-4f7b034c1c27" providerId="ADAL" clId="{96D77013-12DF-4911-886E-DED6CCA30677}" dt="2020-12-09T12:16:11.199" v="3895" actId="1037"/>
          <ac:cxnSpMkLst>
            <pc:docMk/>
            <pc:sldMk cId="1627822697" sldId="313"/>
            <ac:cxnSpMk id="30" creationId="{1D702FCA-793F-404B-84D5-F14C318BFFB3}"/>
          </ac:cxnSpMkLst>
        </pc:cxnChg>
      </pc:sldChg>
      <pc:sldChg chg="addSp delSp modSp add del ord">
        <pc:chgData name="Meyer Raphael (KOM-PGA-VSF)" userId="79615dfe-ed48-4e74-a40f-4f7b034c1c27" providerId="ADAL" clId="{96D77013-12DF-4911-886E-DED6CCA30677}" dt="2020-12-16T10:38:55.297" v="4018" actId="2696"/>
        <pc:sldMkLst>
          <pc:docMk/>
          <pc:sldMk cId="1400085580" sldId="314"/>
        </pc:sldMkLst>
        <pc:spChg chg="mod">
          <ac:chgData name="Meyer Raphael (KOM-PGA-VSF)" userId="79615dfe-ed48-4e74-a40f-4f7b034c1c27" providerId="ADAL" clId="{96D77013-12DF-4911-886E-DED6CCA30677}" dt="2020-12-09T12:16:30.539" v="3901"/>
          <ac:spMkLst>
            <pc:docMk/>
            <pc:sldMk cId="1400085580" sldId="314"/>
            <ac:spMk id="2" creationId="{A2DC317F-F1F4-4624-8FC1-3B68C1DBB3DA}"/>
          </ac:spMkLst>
        </pc:spChg>
        <pc:spChg chg="del">
          <ac:chgData name="Meyer Raphael (KOM-PGA-VSF)" userId="79615dfe-ed48-4e74-a40f-4f7b034c1c27" providerId="ADAL" clId="{96D77013-12DF-4911-886E-DED6CCA30677}" dt="2020-12-09T12:16:59.535" v="3903" actId="478"/>
          <ac:spMkLst>
            <pc:docMk/>
            <pc:sldMk cId="1400085580" sldId="314"/>
            <ac:spMk id="7" creationId="{BA3F9A72-0541-4D1F-8CD8-1C2B8074FA1B}"/>
          </ac:spMkLst>
        </pc:spChg>
        <pc:spChg chg="del mod">
          <ac:chgData name="Meyer Raphael (KOM-PGA-VSF)" userId="79615dfe-ed48-4e74-a40f-4f7b034c1c27" providerId="ADAL" clId="{96D77013-12DF-4911-886E-DED6CCA30677}" dt="2020-12-09T12:18:14.097" v="3915" actId="478"/>
          <ac:spMkLst>
            <pc:docMk/>
            <pc:sldMk cId="1400085580" sldId="314"/>
            <ac:spMk id="8" creationId="{5857C2A1-2CB8-4D4A-AEFD-E809BF73D04F}"/>
          </ac:spMkLst>
        </pc:spChg>
        <pc:spChg chg="del">
          <ac:chgData name="Meyer Raphael (KOM-PGA-VSF)" userId="79615dfe-ed48-4e74-a40f-4f7b034c1c27" providerId="ADAL" clId="{96D77013-12DF-4911-886E-DED6CCA30677}" dt="2020-12-09T12:16:59.535" v="3903" actId="478"/>
          <ac:spMkLst>
            <pc:docMk/>
            <pc:sldMk cId="1400085580" sldId="314"/>
            <ac:spMk id="9" creationId="{B6990B61-32B2-4ADC-BF01-EDF7B4080F97}"/>
          </ac:spMkLst>
        </pc:spChg>
        <pc:spChg chg="mod">
          <ac:chgData name="Meyer Raphael (KOM-PGA-VSF)" userId="79615dfe-ed48-4e74-a40f-4f7b034c1c27" providerId="ADAL" clId="{96D77013-12DF-4911-886E-DED6CCA30677}" dt="2020-12-09T12:16:39.270" v="3902"/>
          <ac:spMkLst>
            <pc:docMk/>
            <pc:sldMk cId="1400085580" sldId="314"/>
            <ac:spMk id="10" creationId="{077DFD58-E5EE-4B68-9325-D935DB04DD40}"/>
          </ac:spMkLst>
        </pc:spChg>
        <pc:spChg chg="del">
          <ac:chgData name="Meyer Raphael (KOM-PGA-VSF)" userId="79615dfe-ed48-4e74-a40f-4f7b034c1c27" providerId="ADAL" clId="{96D77013-12DF-4911-886E-DED6CCA30677}" dt="2020-12-09T12:16:59.535" v="3903" actId="478"/>
          <ac:spMkLst>
            <pc:docMk/>
            <pc:sldMk cId="1400085580" sldId="314"/>
            <ac:spMk id="17" creationId="{785E740C-F94A-4208-8DFD-63A603C16577}"/>
          </ac:spMkLst>
        </pc:spChg>
        <pc:spChg chg="del">
          <ac:chgData name="Meyer Raphael (KOM-PGA-VSF)" userId="79615dfe-ed48-4e74-a40f-4f7b034c1c27" providerId="ADAL" clId="{96D77013-12DF-4911-886E-DED6CCA30677}" dt="2020-12-09T12:16:59.535" v="3903" actId="478"/>
          <ac:spMkLst>
            <pc:docMk/>
            <pc:sldMk cId="1400085580" sldId="314"/>
            <ac:spMk id="26" creationId="{BFD498B5-D73E-4C8A-9FAF-B3547647538C}"/>
          </ac:spMkLst>
        </pc:spChg>
        <pc:spChg chg="mod">
          <ac:chgData name="Meyer Raphael (KOM-PGA-VSF)" userId="79615dfe-ed48-4e74-a40f-4f7b034c1c27" providerId="ADAL" clId="{96D77013-12DF-4911-886E-DED6CCA30677}" dt="2020-12-09T12:18:56.630" v="3922" actId="14100"/>
          <ac:spMkLst>
            <pc:docMk/>
            <pc:sldMk cId="1400085580" sldId="314"/>
            <ac:spMk id="27" creationId="{46A6B042-39EE-4A58-BBAA-13D52264B660}"/>
          </ac:spMkLst>
        </pc:spChg>
        <pc:spChg chg="del">
          <ac:chgData name="Meyer Raphael (KOM-PGA-VSF)" userId="79615dfe-ed48-4e74-a40f-4f7b034c1c27" providerId="ADAL" clId="{96D77013-12DF-4911-886E-DED6CCA30677}" dt="2020-12-09T12:17:26.591" v="3907" actId="478"/>
          <ac:spMkLst>
            <pc:docMk/>
            <pc:sldMk cId="1400085580" sldId="314"/>
            <ac:spMk id="33" creationId="{A80F7DEC-022D-4493-8CDE-E61BC06E6C43}"/>
          </ac:spMkLst>
        </pc:spChg>
        <pc:spChg chg="add">
          <ac:chgData name="Meyer Raphael (KOM-PGA-VSF)" userId="79615dfe-ed48-4e74-a40f-4f7b034c1c27" providerId="ADAL" clId="{96D77013-12DF-4911-886E-DED6CCA30677}" dt="2020-12-09T12:17:17.049" v="3906"/>
          <ac:spMkLst>
            <pc:docMk/>
            <pc:sldMk cId="1400085580" sldId="314"/>
            <ac:spMk id="36" creationId="{77EF0EBC-5E63-4D8F-A51F-7418944B84D1}"/>
          </ac:spMkLst>
        </pc:spChg>
        <pc:spChg chg="del">
          <ac:chgData name="Meyer Raphael (KOM-PGA-VSF)" userId="79615dfe-ed48-4e74-a40f-4f7b034c1c27" providerId="ADAL" clId="{96D77013-12DF-4911-886E-DED6CCA30677}" dt="2020-12-09T12:17:26.591" v="3907" actId="478"/>
          <ac:spMkLst>
            <pc:docMk/>
            <pc:sldMk cId="1400085580" sldId="314"/>
            <ac:spMk id="37" creationId="{16628D91-C37D-41C8-A84A-DDEB3E2C1246}"/>
          </ac:spMkLst>
        </pc:spChg>
        <pc:spChg chg="add">
          <ac:chgData name="Meyer Raphael (KOM-PGA-VSF)" userId="79615dfe-ed48-4e74-a40f-4f7b034c1c27" providerId="ADAL" clId="{96D77013-12DF-4911-886E-DED6CCA30677}" dt="2020-12-09T12:17:17.049" v="3906"/>
          <ac:spMkLst>
            <pc:docMk/>
            <pc:sldMk cId="1400085580" sldId="314"/>
            <ac:spMk id="38" creationId="{98CC3272-9A08-4A49-892B-DFCC8D37F01A}"/>
          </ac:spMkLst>
        </pc:spChg>
        <pc:spChg chg="add">
          <ac:chgData name="Meyer Raphael (KOM-PGA-VSF)" userId="79615dfe-ed48-4e74-a40f-4f7b034c1c27" providerId="ADAL" clId="{96D77013-12DF-4911-886E-DED6CCA30677}" dt="2020-12-09T12:17:17.049" v="3906"/>
          <ac:spMkLst>
            <pc:docMk/>
            <pc:sldMk cId="1400085580" sldId="314"/>
            <ac:spMk id="39" creationId="{271B2F03-6D9F-4D45-A90F-2AB75E32CC02}"/>
          </ac:spMkLst>
        </pc:spChg>
        <pc:spChg chg="add">
          <ac:chgData name="Meyer Raphael (KOM-PGA-VSF)" userId="79615dfe-ed48-4e74-a40f-4f7b034c1c27" providerId="ADAL" clId="{96D77013-12DF-4911-886E-DED6CCA30677}" dt="2020-12-09T12:17:17.049" v="3906"/>
          <ac:spMkLst>
            <pc:docMk/>
            <pc:sldMk cId="1400085580" sldId="314"/>
            <ac:spMk id="40" creationId="{68C34AD2-4FDE-4E6F-A51B-79ECB934489F}"/>
          </ac:spMkLst>
        </pc:spChg>
        <pc:spChg chg="add mod">
          <ac:chgData name="Meyer Raphael (KOM-PGA-VSF)" userId="79615dfe-ed48-4e74-a40f-4f7b034c1c27" providerId="ADAL" clId="{96D77013-12DF-4911-886E-DED6CCA30677}" dt="2020-12-09T12:17:39.233" v="3909" actId="1037"/>
          <ac:spMkLst>
            <pc:docMk/>
            <pc:sldMk cId="1400085580" sldId="314"/>
            <ac:spMk id="41" creationId="{75A59D42-1C71-4F30-8F29-EDA666AECD3A}"/>
          </ac:spMkLst>
        </pc:spChg>
        <pc:spChg chg="add mod">
          <ac:chgData name="Meyer Raphael (KOM-PGA-VSF)" userId="79615dfe-ed48-4e74-a40f-4f7b034c1c27" providerId="ADAL" clId="{96D77013-12DF-4911-886E-DED6CCA30677}" dt="2020-12-09T12:17:39.233" v="3909" actId="1037"/>
          <ac:spMkLst>
            <pc:docMk/>
            <pc:sldMk cId="1400085580" sldId="314"/>
            <ac:spMk id="42" creationId="{4DC1F278-AE59-4E46-A9B8-EB5E9E322CAC}"/>
          </ac:spMkLst>
        </pc:spChg>
        <pc:spChg chg="add mod">
          <ac:chgData name="Meyer Raphael (KOM-PGA-VSF)" userId="79615dfe-ed48-4e74-a40f-4f7b034c1c27" providerId="ADAL" clId="{96D77013-12DF-4911-886E-DED6CCA30677}" dt="2020-12-09T12:18:37.761" v="3919" actId="20577"/>
          <ac:spMkLst>
            <pc:docMk/>
            <pc:sldMk cId="1400085580" sldId="314"/>
            <ac:spMk id="44" creationId="{8329B916-7DDA-4097-B9A0-217743AFAB65}"/>
          </ac:spMkLst>
        </pc:spChg>
        <pc:cxnChg chg="del mod">
          <ac:chgData name="Meyer Raphael (KOM-PGA-VSF)" userId="79615dfe-ed48-4e74-a40f-4f7b034c1c27" providerId="ADAL" clId="{96D77013-12DF-4911-886E-DED6CCA30677}" dt="2020-12-09T12:18:23.937" v="3916" actId="478"/>
          <ac:cxnSpMkLst>
            <pc:docMk/>
            <pc:sldMk cId="1400085580" sldId="314"/>
            <ac:cxnSpMk id="20" creationId="{07FCC63F-5E2F-43DF-84ED-5FFEC92A0042}"/>
          </ac:cxnSpMkLst>
        </pc:cxnChg>
        <pc:cxnChg chg="mod">
          <ac:chgData name="Meyer Raphael (KOM-PGA-VSF)" userId="79615dfe-ed48-4e74-a40f-4f7b034c1c27" providerId="ADAL" clId="{96D77013-12DF-4911-886E-DED6CCA30677}" dt="2020-12-09T12:16:23.171" v="3900" actId="1035"/>
          <ac:cxnSpMkLst>
            <pc:docMk/>
            <pc:sldMk cId="1400085580" sldId="314"/>
            <ac:cxnSpMk id="30" creationId="{1D702FCA-793F-404B-84D5-F14C318BFFB3}"/>
          </ac:cxnSpMkLst>
        </pc:cxnChg>
        <pc:cxnChg chg="add">
          <ac:chgData name="Meyer Raphael (KOM-PGA-VSF)" userId="79615dfe-ed48-4e74-a40f-4f7b034c1c27" providerId="ADAL" clId="{96D77013-12DF-4911-886E-DED6CCA30677}" dt="2020-12-09T12:18:34.632" v="3917"/>
          <ac:cxnSpMkLst>
            <pc:docMk/>
            <pc:sldMk cId="1400085580" sldId="314"/>
            <ac:cxnSpMk id="43" creationId="{E4068DFE-A9E3-4D7D-95FF-29F929489F94}"/>
          </ac:cxnSpMkLst>
        </pc:cxnChg>
      </pc:sldChg>
      <pc:sldChg chg="addSp delSp modSp add">
        <pc:chgData name="Meyer Raphael (KOM-PGA-VSF)" userId="79615dfe-ed48-4e74-a40f-4f7b034c1c27" providerId="ADAL" clId="{96D77013-12DF-4911-886E-DED6CCA30677}" dt="2020-12-16T10:36:27.688" v="4003"/>
        <pc:sldMkLst>
          <pc:docMk/>
          <pc:sldMk cId="2802950074" sldId="315"/>
        </pc:sldMkLst>
        <pc:spChg chg="mod">
          <ac:chgData name="Meyer Raphael (KOM-PGA-VSF)" userId="79615dfe-ed48-4e74-a40f-4f7b034c1c27" providerId="ADAL" clId="{96D77013-12DF-4911-886E-DED6CCA30677}" dt="2020-12-16T10:35:04.306" v="3989"/>
          <ac:spMkLst>
            <pc:docMk/>
            <pc:sldMk cId="2802950074" sldId="315"/>
            <ac:spMk id="2" creationId="{A2DC317F-F1F4-4624-8FC1-3B68C1DBB3DA}"/>
          </ac:spMkLst>
        </pc:spChg>
        <pc:spChg chg="del">
          <ac:chgData name="Meyer Raphael (KOM-PGA-VSF)" userId="79615dfe-ed48-4e74-a40f-4f7b034c1c27" providerId="ADAL" clId="{96D77013-12DF-4911-886E-DED6CCA30677}" dt="2020-12-16T10:35:19.274" v="3991" actId="478"/>
          <ac:spMkLst>
            <pc:docMk/>
            <pc:sldMk cId="2802950074" sldId="315"/>
            <ac:spMk id="7" creationId="{BA3F9A72-0541-4D1F-8CD8-1C2B8074FA1B}"/>
          </ac:spMkLst>
        </pc:spChg>
        <pc:spChg chg="del mod">
          <ac:chgData name="Meyer Raphael (KOM-PGA-VSF)" userId="79615dfe-ed48-4e74-a40f-4f7b034c1c27" providerId="ADAL" clId="{96D77013-12DF-4911-886E-DED6CCA30677}" dt="2020-12-16T10:35:48.789" v="3997" actId="478"/>
          <ac:spMkLst>
            <pc:docMk/>
            <pc:sldMk cId="2802950074" sldId="315"/>
            <ac:spMk id="8" creationId="{5857C2A1-2CB8-4D4A-AEFD-E809BF73D04F}"/>
          </ac:spMkLst>
        </pc:spChg>
        <pc:spChg chg="del">
          <ac:chgData name="Meyer Raphael (KOM-PGA-VSF)" userId="79615dfe-ed48-4e74-a40f-4f7b034c1c27" providerId="ADAL" clId="{96D77013-12DF-4911-886E-DED6CCA30677}" dt="2020-12-16T10:35:19.274" v="3991" actId="478"/>
          <ac:spMkLst>
            <pc:docMk/>
            <pc:sldMk cId="2802950074" sldId="315"/>
            <ac:spMk id="9" creationId="{B6990B61-32B2-4ADC-BF01-EDF7B4080F97}"/>
          </ac:spMkLst>
        </pc:spChg>
        <pc:spChg chg="mod">
          <ac:chgData name="Meyer Raphael (KOM-PGA-VSF)" userId="79615dfe-ed48-4e74-a40f-4f7b034c1c27" providerId="ADAL" clId="{96D77013-12DF-4911-886E-DED6CCA30677}" dt="2020-12-16T10:35:11.612" v="3990"/>
          <ac:spMkLst>
            <pc:docMk/>
            <pc:sldMk cId="2802950074" sldId="315"/>
            <ac:spMk id="10" creationId="{077DFD58-E5EE-4B68-9325-D935DB04DD40}"/>
          </ac:spMkLst>
        </pc:spChg>
        <pc:spChg chg="del">
          <ac:chgData name="Meyer Raphael (KOM-PGA-VSF)" userId="79615dfe-ed48-4e74-a40f-4f7b034c1c27" providerId="ADAL" clId="{96D77013-12DF-4911-886E-DED6CCA30677}" dt="2020-12-16T10:35:19.274" v="3991" actId="478"/>
          <ac:spMkLst>
            <pc:docMk/>
            <pc:sldMk cId="2802950074" sldId="315"/>
            <ac:spMk id="17" creationId="{785E740C-F94A-4208-8DFD-63A603C16577}"/>
          </ac:spMkLst>
        </pc:spChg>
        <pc:spChg chg="del">
          <ac:chgData name="Meyer Raphael (KOM-PGA-VSF)" userId="79615dfe-ed48-4e74-a40f-4f7b034c1c27" providerId="ADAL" clId="{96D77013-12DF-4911-886E-DED6CCA30677}" dt="2020-12-16T10:35:19.274" v="3991" actId="478"/>
          <ac:spMkLst>
            <pc:docMk/>
            <pc:sldMk cId="2802950074" sldId="315"/>
            <ac:spMk id="26" creationId="{BFD498B5-D73E-4C8A-9FAF-B3547647538C}"/>
          </ac:spMkLst>
        </pc:spChg>
        <pc:spChg chg="mod">
          <ac:chgData name="Meyer Raphael (KOM-PGA-VSF)" userId="79615dfe-ed48-4e74-a40f-4f7b034c1c27" providerId="ADAL" clId="{96D77013-12DF-4911-886E-DED6CCA30677}" dt="2020-12-16T10:36:27.688" v="4003"/>
          <ac:spMkLst>
            <pc:docMk/>
            <pc:sldMk cId="2802950074" sldId="315"/>
            <ac:spMk id="27" creationId="{46A6B042-39EE-4A58-BBAA-13D52264B660}"/>
          </ac:spMkLst>
        </pc:spChg>
        <pc:spChg chg="add">
          <ac:chgData name="Meyer Raphael (KOM-PGA-VSF)" userId="79615dfe-ed48-4e74-a40f-4f7b034c1c27" providerId="ADAL" clId="{96D77013-12DF-4911-886E-DED6CCA30677}" dt="2020-12-16T10:35:29.643" v="3992"/>
          <ac:spMkLst>
            <pc:docMk/>
            <pc:sldMk cId="2802950074" sldId="315"/>
            <ac:spMk id="36" creationId="{D1ECA163-3028-4B34-8370-E5BF606C303D}"/>
          </ac:spMkLst>
        </pc:spChg>
        <pc:spChg chg="add">
          <ac:chgData name="Meyer Raphael (KOM-PGA-VSF)" userId="79615dfe-ed48-4e74-a40f-4f7b034c1c27" providerId="ADAL" clId="{96D77013-12DF-4911-886E-DED6CCA30677}" dt="2020-12-16T10:35:29.643" v="3992"/>
          <ac:spMkLst>
            <pc:docMk/>
            <pc:sldMk cId="2802950074" sldId="315"/>
            <ac:spMk id="38" creationId="{B76B9B6A-1189-4216-8860-3FB334B075CB}"/>
          </ac:spMkLst>
        </pc:spChg>
        <pc:spChg chg="add">
          <ac:chgData name="Meyer Raphael (KOM-PGA-VSF)" userId="79615dfe-ed48-4e74-a40f-4f7b034c1c27" providerId="ADAL" clId="{96D77013-12DF-4911-886E-DED6CCA30677}" dt="2020-12-16T10:35:29.643" v="3992"/>
          <ac:spMkLst>
            <pc:docMk/>
            <pc:sldMk cId="2802950074" sldId="315"/>
            <ac:spMk id="39" creationId="{710A1E67-CE78-4A34-B851-697CC5360C65}"/>
          </ac:spMkLst>
        </pc:spChg>
        <pc:spChg chg="add">
          <ac:chgData name="Meyer Raphael (KOM-PGA-VSF)" userId="79615dfe-ed48-4e74-a40f-4f7b034c1c27" providerId="ADAL" clId="{96D77013-12DF-4911-886E-DED6CCA30677}" dt="2020-12-16T10:35:29.643" v="3992"/>
          <ac:spMkLst>
            <pc:docMk/>
            <pc:sldMk cId="2802950074" sldId="315"/>
            <ac:spMk id="40" creationId="{309971CC-F792-43B7-A024-CFBE4DE50BFB}"/>
          </ac:spMkLst>
        </pc:spChg>
        <pc:spChg chg="add mod">
          <ac:chgData name="Meyer Raphael (KOM-PGA-VSF)" userId="79615dfe-ed48-4e74-a40f-4f7b034c1c27" providerId="ADAL" clId="{96D77013-12DF-4911-886E-DED6CCA30677}" dt="2020-12-16T10:35:58.792" v="4002" actId="20577"/>
          <ac:spMkLst>
            <pc:docMk/>
            <pc:sldMk cId="2802950074" sldId="315"/>
            <ac:spMk id="42" creationId="{A033A810-BFFD-406C-88F8-2749262D34FE}"/>
          </ac:spMkLst>
        </pc:spChg>
        <pc:cxnChg chg="del mod">
          <ac:chgData name="Meyer Raphael (KOM-PGA-VSF)" userId="79615dfe-ed48-4e74-a40f-4f7b034c1c27" providerId="ADAL" clId="{96D77013-12DF-4911-886E-DED6CCA30677}" dt="2020-12-16T10:35:48.789" v="3997" actId="478"/>
          <ac:cxnSpMkLst>
            <pc:docMk/>
            <pc:sldMk cId="2802950074" sldId="315"/>
            <ac:cxnSpMk id="20" creationId="{07FCC63F-5E2F-43DF-84ED-5FFEC92A0042}"/>
          </ac:cxnSpMkLst>
        </pc:cxnChg>
        <pc:cxnChg chg="add">
          <ac:chgData name="Meyer Raphael (KOM-PGA-VSF)" userId="79615dfe-ed48-4e74-a40f-4f7b034c1c27" providerId="ADAL" clId="{96D77013-12DF-4911-886E-DED6CCA30677}" dt="2020-12-16T10:35:54.417" v="3998"/>
          <ac:cxnSpMkLst>
            <pc:docMk/>
            <pc:sldMk cId="2802950074" sldId="315"/>
            <ac:cxnSpMk id="41" creationId="{F0EC26E9-4A45-4EBB-BA47-C888CB01B42C}"/>
          </ac:cxnSpMkLst>
        </pc:cxnChg>
      </pc:sldChg>
      <pc:sldChg chg="addSp delSp modSp add">
        <pc:chgData name="Meyer Raphael (KOM-PGA-VSF)" userId="79615dfe-ed48-4e74-a40f-4f7b034c1c27" providerId="ADAL" clId="{96D77013-12DF-4911-886E-DED6CCA30677}" dt="2020-12-16T10:38:38.975" v="4017"/>
        <pc:sldMkLst>
          <pc:docMk/>
          <pc:sldMk cId="3685268070" sldId="316"/>
        </pc:sldMkLst>
        <pc:spChg chg="mod">
          <ac:chgData name="Meyer Raphael (KOM-PGA-VSF)" userId="79615dfe-ed48-4e74-a40f-4f7b034c1c27" providerId="ADAL" clId="{96D77013-12DF-4911-886E-DED6CCA30677}" dt="2020-12-16T10:37:16.308" v="4005"/>
          <ac:spMkLst>
            <pc:docMk/>
            <pc:sldMk cId="3685268070" sldId="316"/>
            <ac:spMk id="2" creationId="{A2DC317F-F1F4-4624-8FC1-3B68C1DBB3DA}"/>
          </ac:spMkLst>
        </pc:spChg>
        <pc:spChg chg="del">
          <ac:chgData name="Meyer Raphael (KOM-PGA-VSF)" userId="79615dfe-ed48-4e74-a40f-4f7b034c1c27" providerId="ADAL" clId="{96D77013-12DF-4911-886E-DED6CCA30677}" dt="2020-12-16T10:37:45.143" v="4007" actId="478"/>
          <ac:spMkLst>
            <pc:docMk/>
            <pc:sldMk cId="3685268070" sldId="316"/>
            <ac:spMk id="7" creationId="{BA3F9A72-0541-4D1F-8CD8-1C2B8074FA1B}"/>
          </ac:spMkLst>
        </pc:spChg>
        <pc:spChg chg="del">
          <ac:chgData name="Meyer Raphael (KOM-PGA-VSF)" userId="79615dfe-ed48-4e74-a40f-4f7b034c1c27" providerId="ADAL" clId="{96D77013-12DF-4911-886E-DED6CCA30677}" dt="2020-12-16T10:37:45.143" v="4007" actId="478"/>
          <ac:spMkLst>
            <pc:docMk/>
            <pc:sldMk cId="3685268070" sldId="316"/>
            <ac:spMk id="8" creationId="{5857C2A1-2CB8-4D4A-AEFD-E809BF73D04F}"/>
          </ac:spMkLst>
        </pc:spChg>
        <pc:spChg chg="del">
          <ac:chgData name="Meyer Raphael (KOM-PGA-VSF)" userId="79615dfe-ed48-4e74-a40f-4f7b034c1c27" providerId="ADAL" clId="{96D77013-12DF-4911-886E-DED6CCA30677}" dt="2020-12-16T10:37:45.143" v="4007" actId="478"/>
          <ac:spMkLst>
            <pc:docMk/>
            <pc:sldMk cId="3685268070" sldId="316"/>
            <ac:spMk id="9" creationId="{B6990B61-32B2-4ADC-BF01-EDF7B4080F97}"/>
          </ac:spMkLst>
        </pc:spChg>
        <pc:spChg chg="mod">
          <ac:chgData name="Meyer Raphael (KOM-PGA-VSF)" userId="79615dfe-ed48-4e74-a40f-4f7b034c1c27" providerId="ADAL" clId="{96D77013-12DF-4911-886E-DED6CCA30677}" dt="2020-12-16T10:37:23.470" v="4006"/>
          <ac:spMkLst>
            <pc:docMk/>
            <pc:sldMk cId="3685268070" sldId="316"/>
            <ac:spMk id="10" creationId="{077DFD58-E5EE-4B68-9325-D935DB04DD40}"/>
          </ac:spMkLst>
        </pc:spChg>
        <pc:spChg chg="del">
          <ac:chgData name="Meyer Raphael (KOM-PGA-VSF)" userId="79615dfe-ed48-4e74-a40f-4f7b034c1c27" providerId="ADAL" clId="{96D77013-12DF-4911-886E-DED6CCA30677}" dt="2020-12-16T10:37:45.143" v="4007" actId="478"/>
          <ac:spMkLst>
            <pc:docMk/>
            <pc:sldMk cId="3685268070" sldId="316"/>
            <ac:spMk id="17" creationId="{785E740C-F94A-4208-8DFD-63A603C16577}"/>
          </ac:spMkLst>
        </pc:spChg>
        <pc:spChg chg="del">
          <ac:chgData name="Meyer Raphael (KOM-PGA-VSF)" userId="79615dfe-ed48-4e74-a40f-4f7b034c1c27" providerId="ADAL" clId="{96D77013-12DF-4911-886E-DED6CCA30677}" dt="2020-12-16T10:37:45.143" v="4007" actId="478"/>
          <ac:spMkLst>
            <pc:docMk/>
            <pc:sldMk cId="3685268070" sldId="316"/>
            <ac:spMk id="26" creationId="{BFD498B5-D73E-4C8A-9FAF-B3547647538C}"/>
          </ac:spMkLst>
        </pc:spChg>
        <pc:spChg chg="mod">
          <ac:chgData name="Meyer Raphael (KOM-PGA-VSF)" userId="79615dfe-ed48-4e74-a40f-4f7b034c1c27" providerId="ADAL" clId="{96D77013-12DF-4911-886E-DED6CCA30677}" dt="2020-12-16T10:38:21.528" v="4015" actId="14100"/>
          <ac:spMkLst>
            <pc:docMk/>
            <pc:sldMk cId="3685268070" sldId="316"/>
            <ac:spMk id="27" creationId="{46A6B042-39EE-4A58-BBAA-13D52264B660}"/>
          </ac:spMkLst>
        </pc:spChg>
        <pc:spChg chg="del">
          <ac:chgData name="Meyer Raphael (KOM-PGA-VSF)" userId="79615dfe-ed48-4e74-a40f-4f7b034c1c27" providerId="ADAL" clId="{96D77013-12DF-4911-886E-DED6CCA30677}" dt="2020-12-16T10:38:31.044" v="4016" actId="478"/>
          <ac:spMkLst>
            <pc:docMk/>
            <pc:sldMk cId="3685268070" sldId="316"/>
            <ac:spMk id="33" creationId="{A80F7DEC-022D-4493-8CDE-E61BC06E6C43}"/>
          </ac:spMkLst>
        </pc:spChg>
        <pc:spChg chg="add">
          <ac:chgData name="Meyer Raphael (KOM-PGA-VSF)" userId="79615dfe-ed48-4e74-a40f-4f7b034c1c27" providerId="ADAL" clId="{96D77013-12DF-4911-886E-DED6CCA30677}" dt="2020-12-16T10:37:56.634" v="4008"/>
          <ac:spMkLst>
            <pc:docMk/>
            <pc:sldMk cId="3685268070" sldId="316"/>
            <ac:spMk id="36" creationId="{7D90DEEA-F6D4-41F5-A9E1-CDEB18E8EDC7}"/>
          </ac:spMkLst>
        </pc:spChg>
        <pc:spChg chg="del">
          <ac:chgData name="Meyer Raphael (KOM-PGA-VSF)" userId="79615dfe-ed48-4e74-a40f-4f7b034c1c27" providerId="ADAL" clId="{96D77013-12DF-4911-886E-DED6CCA30677}" dt="2020-12-16T10:38:31.044" v="4016" actId="478"/>
          <ac:spMkLst>
            <pc:docMk/>
            <pc:sldMk cId="3685268070" sldId="316"/>
            <ac:spMk id="37" creationId="{16628D91-C37D-41C8-A84A-DDEB3E2C1246}"/>
          </ac:spMkLst>
        </pc:spChg>
        <pc:spChg chg="add">
          <ac:chgData name="Meyer Raphael (KOM-PGA-VSF)" userId="79615dfe-ed48-4e74-a40f-4f7b034c1c27" providerId="ADAL" clId="{96D77013-12DF-4911-886E-DED6CCA30677}" dt="2020-12-16T10:37:56.634" v="4008"/>
          <ac:spMkLst>
            <pc:docMk/>
            <pc:sldMk cId="3685268070" sldId="316"/>
            <ac:spMk id="38" creationId="{BF30C599-8178-4CC0-B638-8823F727CB83}"/>
          </ac:spMkLst>
        </pc:spChg>
        <pc:spChg chg="add">
          <ac:chgData name="Meyer Raphael (KOM-PGA-VSF)" userId="79615dfe-ed48-4e74-a40f-4f7b034c1c27" providerId="ADAL" clId="{96D77013-12DF-4911-886E-DED6CCA30677}" dt="2020-12-16T10:37:56.634" v="4008"/>
          <ac:spMkLst>
            <pc:docMk/>
            <pc:sldMk cId="3685268070" sldId="316"/>
            <ac:spMk id="39" creationId="{365230FE-8828-4775-853A-DF6C4E5F1897}"/>
          </ac:spMkLst>
        </pc:spChg>
        <pc:spChg chg="add">
          <ac:chgData name="Meyer Raphael (KOM-PGA-VSF)" userId="79615dfe-ed48-4e74-a40f-4f7b034c1c27" providerId="ADAL" clId="{96D77013-12DF-4911-886E-DED6CCA30677}" dt="2020-12-16T10:37:56.634" v="4008"/>
          <ac:spMkLst>
            <pc:docMk/>
            <pc:sldMk cId="3685268070" sldId="316"/>
            <ac:spMk id="40" creationId="{62BE60E6-816B-489B-BE9A-F4CD04D64B5C}"/>
          </ac:spMkLst>
        </pc:spChg>
        <pc:spChg chg="add mod">
          <ac:chgData name="Meyer Raphael (KOM-PGA-VSF)" userId="79615dfe-ed48-4e74-a40f-4f7b034c1c27" providerId="ADAL" clId="{96D77013-12DF-4911-886E-DED6CCA30677}" dt="2020-12-16T10:38:06.982" v="4013" actId="20577"/>
          <ac:spMkLst>
            <pc:docMk/>
            <pc:sldMk cId="3685268070" sldId="316"/>
            <ac:spMk id="41" creationId="{DD1D7DED-B5E6-4EA2-9113-4A179D74E57F}"/>
          </ac:spMkLst>
        </pc:spChg>
        <pc:spChg chg="add">
          <ac:chgData name="Meyer Raphael (KOM-PGA-VSF)" userId="79615dfe-ed48-4e74-a40f-4f7b034c1c27" providerId="ADAL" clId="{96D77013-12DF-4911-886E-DED6CCA30677}" dt="2020-12-16T10:38:38.975" v="4017"/>
          <ac:spMkLst>
            <pc:docMk/>
            <pc:sldMk cId="3685268070" sldId="316"/>
            <ac:spMk id="42" creationId="{45D2AD9C-FD02-46F0-8A24-212A623BF6AE}"/>
          </ac:spMkLst>
        </pc:spChg>
        <pc:spChg chg="add">
          <ac:chgData name="Meyer Raphael (KOM-PGA-VSF)" userId="79615dfe-ed48-4e74-a40f-4f7b034c1c27" providerId="ADAL" clId="{96D77013-12DF-4911-886E-DED6CCA30677}" dt="2020-12-16T10:38:38.975" v="4017"/>
          <ac:spMkLst>
            <pc:docMk/>
            <pc:sldMk cId="3685268070" sldId="316"/>
            <ac:spMk id="43" creationId="{CF9BADE2-CECA-430A-BEBC-81B9FB4ED3CE}"/>
          </ac:spMkLst>
        </pc:spChg>
        <pc:cxnChg chg="mod">
          <ac:chgData name="Meyer Raphael (KOM-PGA-VSF)" userId="79615dfe-ed48-4e74-a40f-4f7b034c1c27" providerId="ADAL" clId="{96D77013-12DF-4911-886E-DED6CCA30677}" dt="2020-12-16T10:37:45.143" v="4007" actId="478"/>
          <ac:cxnSpMkLst>
            <pc:docMk/>
            <pc:sldMk cId="3685268070" sldId="316"/>
            <ac:cxnSpMk id="20" creationId="{07FCC63F-5E2F-43DF-84ED-5FFEC92A0042}"/>
          </ac:cxnSpMkLst>
        </pc:cxnChg>
      </pc:sldChg>
      <pc:sldMasterChg chg="addSp modSp">
        <pc:chgData name="Meyer Raphael (KOM-PGA-VSF)" userId="79615dfe-ed48-4e74-a40f-4f7b034c1c27" providerId="ADAL" clId="{96D77013-12DF-4911-886E-DED6CCA30677}" dt="2020-11-17T07:41:59.303" v="941"/>
        <pc:sldMasterMkLst>
          <pc:docMk/>
          <pc:sldMasterMk cId="3307758698" sldId="2147483660"/>
        </pc:sldMasterMkLst>
        <pc:spChg chg="add mod ord modVis">
          <ac:chgData name="Meyer Raphael (KOM-PGA-VSF)" userId="79615dfe-ed48-4e74-a40f-4f7b034c1c27" providerId="ADAL" clId="{96D77013-12DF-4911-886E-DED6CCA30677}" dt="2020-11-17T07:41:59.303" v="941"/>
          <ac:spMkLst>
            <pc:docMk/>
            <pc:sldMasterMk cId="3307758698" sldId="2147483660"/>
            <ac:spMk id="7" creationId="{1E4D2D91-D134-4644-9D78-F6F8D7DE1E45}"/>
          </ac:spMkLst>
        </pc:spChg>
      </pc:sldMasterChg>
    </pc:docChg>
  </pc:docChgLst>
  <pc:docChgLst>
    <pc:chgData name="Meyer Raphael (PAR-ES)" userId="79615dfe-ed48-4e74-a40f-4f7b034c1c27" providerId="ADAL" clId="{82637165-BD6C-463E-9368-D87AAFC267FD}"/>
    <pc:docChg chg="undo custSel addSld delSld modSld sldOrd">
      <pc:chgData name="Meyer Raphael (PAR-ES)" userId="79615dfe-ed48-4e74-a40f-4f7b034c1c27" providerId="ADAL" clId="{82637165-BD6C-463E-9368-D87AAFC267FD}" dt="2021-05-07T08:27:30.560" v="98" actId="2696"/>
      <pc:docMkLst>
        <pc:docMk/>
      </pc:docMkLst>
      <pc:sldChg chg="modSp mod">
        <pc:chgData name="Meyer Raphael (PAR-ES)" userId="79615dfe-ed48-4e74-a40f-4f7b034c1c27" providerId="ADAL" clId="{82637165-BD6C-463E-9368-D87AAFC267FD}" dt="2021-05-07T08:24:10.739" v="73" actId="20577"/>
        <pc:sldMkLst>
          <pc:docMk/>
          <pc:sldMk cId="1667945532" sldId="306"/>
        </pc:sldMkLst>
        <pc:spChg chg="mod">
          <ac:chgData name="Meyer Raphael (PAR-ES)" userId="79615dfe-ed48-4e74-a40f-4f7b034c1c27" providerId="ADAL" clId="{82637165-BD6C-463E-9368-D87AAFC267FD}" dt="2021-05-07T08:23:19.347" v="55" actId="20577"/>
          <ac:spMkLst>
            <pc:docMk/>
            <pc:sldMk cId="1667945532" sldId="306"/>
            <ac:spMk id="8" creationId="{5857C2A1-2CB8-4D4A-AEFD-E809BF73D04F}"/>
          </ac:spMkLst>
        </pc:spChg>
        <pc:spChg chg="mod">
          <ac:chgData name="Meyer Raphael (PAR-ES)" userId="79615dfe-ed48-4e74-a40f-4f7b034c1c27" providerId="ADAL" clId="{82637165-BD6C-463E-9368-D87AAFC267FD}" dt="2021-05-07T08:23:49.403" v="65" actId="20577"/>
          <ac:spMkLst>
            <pc:docMk/>
            <pc:sldMk cId="1667945532" sldId="306"/>
            <ac:spMk id="27" creationId="{46A6B042-39EE-4A58-BBAA-13D52264B660}"/>
          </ac:spMkLst>
        </pc:spChg>
        <pc:spChg chg="mod">
          <ac:chgData name="Meyer Raphael (PAR-ES)" userId="79615dfe-ed48-4e74-a40f-4f7b034c1c27" providerId="ADAL" clId="{82637165-BD6C-463E-9368-D87AAFC267FD}" dt="2021-05-07T08:22:32.610" v="49" actId="1037"/>
          <ac:spMkLst>
            <pc:docMk/>
            <pc:sldMk cId="1667945532" sldId="306"/>
            <ac:spMk id="28" creationId="{4492A3CD-6943-423D-BFEC-8129889E8B6F}"/>
          </ac:spMkLst>
        </pc:spChg>
        <pc:spChg chg="mod">
          <ac:chgData name="Meyer Raphael (PAR-ES)" userId="79615dfe-ed48-4e74-a40f-4f7b034c1c27" providerId="ADAL" clId="{82637165-BD6C-463E-9368-D87AAFC267FD}" dt="2021-05-07T08:24:10.739" v="73" actId="20577"/>
          <ac:spMkLst>
            <pc:docMk/>
            <pc:sldMk cId="1667945532" sldId="306"/>
            <ac:spMk id="31" creationId="{7491A47D-CAD4-478D-8F3A-296FFCB799F9}"/>
          </ac:spMkLst>
        </pc:spChg>
        <pc:spChg chg="mod">
          <ac:chgData name="Meyer Raphael (PAR-ES)" userId="79615dfe-ed48-4e74-a40f-4f7b034c1c27" providerId="ADAL" clId="{82637165-BD6C-463E-9368-D87AAFC267FD}" dt="2021-05-07T08:19:21.362" v="21" actId="1076"/>
          <ac:spMkLst>
            <pc:docMk/>
            <pc:sldMk cId="1667945532" sldId="306"/>
            <ac:spMk id="32" creationId="{E65DDA4F-7190-4D5B-B875-6818D18C9F6E}"/>
          </ac:spMkLst>
        </pc:spChg>
        <pc:cxnChg chg="mod">
          <ac:chgData name="Meyer Raphael (PAR-ES)" userId="79615dfe-ed48-4e74-a40f-4f7b034c1c27" providerId="ADAL" clId="{82637165-BD6C-463E-9368-D87AAFC267FD}" dt="2021-05-07T08:19:43.136" v="24" actId="1038"/>
          <ac:cxnSpMkLst>
            <pc:docMk/>
            <pc:sldMk cId="1667945532" sldId="306"/>
            <ac:cxnSpMk id="29" creationId="{FD3E902F-283F-48FC-9504-FF2FF4EA4BF0}"/>
          </ac:cxnSpMkLst>
        </pc:cxnChg>
        <pc:cxnChg chg="mod">
          <ac:chgData name="Meyer Raphael (PAR-ES)" userId="79615dfe-ed48-4e74-a40f-4f7b034c1c27" providerId="ADAL" clId="{82637165-BD6C-463E-9368-D87AAFC267FD}" dt="2021-05-07T08:22:59.800" v="53" actId="1038"/>
          <ac:cxnSpMkLst>
            <pc:docMk/>
            <pc:sldMk cId="1667945532" sldId="306"/>
            <ac:cxnSpMk id="30" creationId="{1D702FCA-793F-404B-84D5-F14C318BFFB3}"/>
          </ac:cxnSpMkLst>
        </pc:cxnChg>
      </pc:sldChg>
      <pc:sldChg chg="del">
        <pc:chgData name="Meyer Raphael (PAR-ES)" userId="79615dfe-ed48-4e74-a40f-4f7b034c1c27" providerId="ADAL" clId="{82637165-BD6C-463E-9368-D87AAFC267FD}" dt="2021-05-07T08:27:30.560" v="98" actId="2696"/>
        <pc:sldMkLst>
          <pc:docMk/>
          <pc:sldMk cId="3739047188" sldId="350"/>
        </pc:sldMkLst>
      </pc:sldChg>
      <pc:sldChg chg="del">
        <pc:chgData name="Meyer Raphael (PAR-ES)" userId="79615dfe-ed48-4e74-a40f-4f7b034c1c27" providerId="ADAL" clId="{82637165-BD6C-463E-9368-D87AAFC267FD}" dt="2021-05-07T08:25:58.183" v="88" actId="2696"/>
        <pc:sldMkLst>
          <pc:docMk/>
          <pc:sldMk cId="2393230848" sldId="351"/>
        </pc:sldMkLst>
      </pc:sldChg>
      <pc:sldChg chg="addSp delSp modSp add mod ord">
        <pc:chgData name="Meyer Raphael (PAR-ES)" userId="79615dfe-ed48-4e74-a40f-4f7b034c1c27" providerId="ADAL" clId="{82637165-BD6C-463E-9368-D87AAFC267FD}" dt="2021-05-07T08:25:44.501" v="87"/>
        <pc:sldMkLst>
          <pc:docMk/>
          <pc:sldMk cId="258869739" sldId="352"/>
        </pc:sldMkLst>
        <pc:spChg chg="mod">
          <ac:chgData name="Meyer Raphael (PAR-ES)" userId="79615dfe-ed48-4e74-a40f-4f7b034c1c27" providerId="ADAL" clId="{82637165-BD6C-463E-9368-D87AAFC267FD}" dt="2021-05-07T08:25:14.962" v="83"/>
          <ac:spMkLst>
            <pc:docMk/>
            <pc:sldMk cId="258869739" sldId="352"/>
            <ac:spMk id="2" creationId="{A2DC317F-F1F4-4624-8FC1-3B68C1DBB3DA}"/>
          </ac:spMkLst>
        </pc:spChg>
        <pc:spChg chg="del">
          <ac:chgData name="Meyer Raphael (PAR-ES)" userId="79615dfe-ed48-4e74-a40f-4f7b034c1c27" providerId="ADAL" clId="{82637165-BD6C-463E-9368-D87AAFC267FD}" dt="2021-05-07T08:24:57.451" v="81" actId="478"/>
          <ac:spMkLst>
            <pc:docMk/>
            <pc:sldMk cId="258869739" sldId="352"/>
            <ac:spMk id="7" creationId="{BA3F9A72-0541-4D1F-8CD8-1C2B8074FA1B}"/>
          </ac:spMkLst>
        </pc:spChg>
        <pc:spChg chg="mod">
          <ac:chgData name="Meyer Raphael (PAR-ES)" userId="79615dfe-ed48-4e74-a40f-4f7b034c1c27" providerId="ADAL" clId="{82637165-BD6C-463E-9368-D87AAFC267FD}" dt="2021-05-07T08:25:33.603" v="86" actId="14100"/>
          <ac:spMkLst>
            <pc:docMk/>
            <pc:sldMk cId="258869739" sldId="352"/>
            <ac:spMk id="8" creationId="{5857C2A1-2CB8-4D4A-AEFD-E809BF73D04F}"/>
          </ac:spMkLst>
        </pc:spChg>
        <pc:spChg chg="del">
          <ac:chgData name="Meyer Raphael (PAR-ES)" userId="79615dfe-ed48-4e74-a40f-4f7b034c1c27" providerId="ADAL" clId="{82637165-BD6C-463E-9368-D87AAFC267FD}" dt="2021-05-07T08:24:57.451" v="81" actId="478"/>
          <ac:spMkLst>
            <pc:docMk/>
            <pc:sldMk cId="258869739" sldId="352"/>
            <ac:spMk id="9" creationId="{B6990B61-32B2-4ADC-BF01-EDF7B4080F97}"/>
          </ac:spMkLst>
        </pc:spChg>
        <pc:spChg chg="mod">
          <ac:chgData name="Meyer Raphael (PAR-ES)" userId="79615dfe-ed48-4e74-a40f-4f7b034c1c27" providerId="ADAL" clId="{82637165-BD6C-463E-9368-D87AAFC267FD}" dt="2021-05-07T08:25:23.092" v="84"/>
          <ac:spMkLst>
            <pc:docMk/>
            <pc:sldMk cId="258869739" sldId="352"/>
            <ac:spMk id="10" creationId="{077DFD58-E5EE-4B68-9325-D935DB04DD40}"/>
          </ac:spMkLst>
        </pc:spChg>
        <pc:spChg chg="del">
          <ac:chgData name="Meyer Raphael (PAR-ES)" userId="79615dfe-ed48-4e74-a40f-4f7b034c1c27" providerId="ADAL" clId="{82637165-BD6C-463E-9368-D87AAFC267FD}" dt="2021-05-07T08:24:57.451" v="81" actId="478"/>
          <ac:spMkLst>
            <pc:docMk/>
            <pc:sldMk cId="258869739" sldId="352"/>
            <ac:spMk id="17" creationId="{785E740C-F94A-4208-8DFD-63A603C16577}"/>
          </ac:spMkLst>
        </pc:spChg>
        <pc:spChg chg="add mod">
          <ac:chgData name="Meyer Raphael (PAR-ES)" userId="79615dfe-ed48-4e74-a40f-4f7b034c1c27" providerId="ADAL" clId="{82637165-BD6C-463E-9368-D87AAFC267FD}" dt="2021-05-07T08:25:05.397" v="82"/>
          <ac:spMkLst>
            <pc:docMk/>
            <pc:sldMk cId="258869739" sldId="352"/>
            <ac:spMk id="21" creationId="{225F8337-C3FF-4CEB-A181-B1B32D72317B}"/>
          </ac:spMkLst>
        </pc:spChg>
        <pc:spChg chg="add mod">
          <ac:chgData name="Meyer Raphael (PAR-ES)" userId="79615dfe-ed48-4e74-a40f-4f7b034c1c27" providerId="ADAL" clId="{82637165-BD6C-463E-9368-D87AAFC267FD}" dt="2021-05-07T08:25:05.397" v="82"/>
          <ac:spMkLst>
            <pc:docMk/>
            <pc:sldMk cId="258869739" sldId="352"/>
            <ac:spMk id="22" creationId="{B5FD2E8E-AE89-4E27-9BBC-7D565A76C919}"/>
          </ac:spMkLst>
        </pc:spChg>
        <pc:spChg chg="add mod">
          <ac:chgData name="Meyer Raphael (PAR-ES)" userId="79615dfe-ed48-4e74-a40f-4f7b034c1c27" providerId="ADAL" clId="{82637165-BD6C-463E-9368-D87AAFC267FD}" dt="2021-05-07T08:25:05.397" v="82"/>
          <ac:spMkLst>
            <pc:docMk/>
            <pc:sldMk cId="258869739" sldId="352"/>
            <ac:spMk id="23" creationId="{90D2E59A-72A5-403D-B396-28CBDCD1F235}"/>
          </ac:spMkLst>
        </pc:spChg>
        <pc:spChg chg="add mod">
          <ac:chgData name="Meyer Raphael (PAR-ES)" userId="79615dfe-ed48-4e74-a40f-4f7b034c1c27" providerId="ADAL" clId="{82637165-BD6C-463E-9368-D87AAFC267FD}" dt="2021-05-07T08:25:05.397" v="82"/>
          <ac:spMkLst>
            <pc:docMk/>
            <pc:sldMk cId="258869739" sldId="352"/>
            <ac:spMk id="25" creationId="{57B8763A-F885-4C9A-840D-34497D986AAA}"/>
          </ac:spMkLst>
        </pc:spChg>
        <pc:spChg chg="del mod">
          <ac:chgData name="Meyer Raphael (PAR-ES)" userId="79615dfe-ed48-4e74-a40f-4f7b034c1c27" providerId="ADAL" clId="{82637165-BD6C-463E-9368-D87AAFC267FD}" dt="2021-05-07T08:24:57.451" v="81" actId="478"/>
          <ac:spMkLst>
            <pc:docMk/>
            <pc:sldMk cId="258869739" sldId="352"/>
            <ac:spMk id="26" creationId="{BFD498B5-D73E-4C8A-9FAF-B3547647538C}"/>
          </ac:spMkLst>
        </pc:spChg>
        <pc:spChg chg="mod">
          <ac:chgData name="Meyer Raphael (PAR-ES)" userId="79615dfe-ed48-4e74-a40f-4f7b034c1c27" providerId="ADAL" clId="{82637165-BD6C-463E-9368-D87AAFC267FD}" dt="2021-05-07T08:25:44.501" v="87"/>
          <ac:spMkLst>
            <pc:docMk/>
            <pc:sldMk cId="258869739" sldId="352"/>
            <ac:spMk id="27" creationId="{46A6B042-39EE-4A58-BBAA-13D52264B660}"/>
          </ac:spMkLst>
        </pc:spChg>
      </pc:sldChg>
      <pc:sldChg chg="addSp delSp modSp add mod ord">
        <pc:chgData name="Meyer Raphael (PAR-ES)" userId="79615dfe-ed48-4e74-a40f-4f7b034c1c27" providerId="ADAL" clId="{82637165-BD6C-463E-9368-D87AAFC267FD}" dt="2021-05-07T08:27:07.666" v="97" actId="14100"/>
        <pc:sldMkLst>
          <pc:docMk/>
          <pc:sldMk cId="1811537745" sldId="353"/>
        </pc:sldMkLst>
        <pc:spChg chg="mod">
          <ac:chgData name="Meyer Raphael (PAR-ES)" userId="79615dfe-ed48-4e74-a40f-4f7b034c1c27" providerId="ADAL" clId="{82637165-BD6C-463E-9368-D87AAFC267FD}" dt="2021-05-07T08:26:22.370" v="91"/>
          <ac:spMkLst>
            <pc:docMk/>
            <pc:sldMk cId="1811537745" sldId="353"/>
            <ac:spMk id="2" creationId="{A2DC317F-F1F4-4624-8FC1-3B68C1DBB3DA}"/>
          </ac:spMkLst>
        </pc:spChg>
        <pc:spChg chg="del">
          <ac:chgData name="Meyer Raphael (PAR-ES)" userId="79615dfe-ed48-4e74-a40f-4f7b034c1c27" providerId="ADAL" clId="{82637165-BD6C-463E-9368-D87AAFC267FD}" dt="2021-05-07T08:26:05.002" v="89" actId="478"/>
          <ac:spMkLst>
            <pc:docMk/>
            <pc:sldMk cId="1811537745" sldId="353"/>
            <ac:spMk id="7" creationId="{BA3F9A72-0541-4D1F-8CD8-1C2B8074FA1B}"/>
          </ac:spMkLst>
        </pc:spChg>
        <pc:spChg chg="mod">
          <ac:chgData name="Meyer Raphael (PAR-ES)" userId="79615dfe-ed48-4e74-a40f-4f7b034c1c27" providerId="ADAL" clId="{82637165-BD6C-463E-9368-D87AAFC267FD}" dt="2021-05-07T08:26:46.400" v="94" actId="14100"/>
          <ac:spMkLst>
            <pc:docMk/>
            <pc:sldMk cId="1811537745" sldId="353"/>
            <ac:spMk id="8" creationId="{5857C2A1-2CB8-4D4A-AEFD-E809BF73D04F}"/>
          </ac:spMkLst>
        </pc:spChg>
        <pc:spChg chg="del">
          <ac:chgData name="Meyer Raphael (PAR-ES)" userId="79615dfe-ed48-4e74-a40f-4f7b034c1c27" providerId="ADAL" clId="{82637165-BD6C-463E-9368-D87AAFC267FD}" dt="2021-05-07T08:26:05.002" v="89" actId="478"/>
          <ac:spMkLst>
            <pc:docMk/>
            <pc:sldMk cId="1811537745" sldId="353"/>
            <ac:spMk id="9" creationId="{B6990B61-32B2-4ADC-BF01-EDF7B4080F97}"/>
          </ac:spMkLst>
        </pc:spChg>
        <pc:spChg chg="mod">
          <ac:chgData name="Meyer Raphael (PAR-ES)" userId="79615dfe-ed48-4e74-a40f-4f7b034c1c27" providerId="ADAL" clId="{82637165-BD6C-463E-9368-D87AAFC267FD}" dt="2021-05-07T08:26:31.795" v="92"/>
          <ac:spMkLst>
            <pc:docMk/>
            <pc:sldMk cId="1811537745" sldId="353"/>
            <ac:spMk id="10" creationId="{077DFD58-E5EE-4B68-9325-D935DB04DD40}"/>
          </ac:spMkLst>
        </pc:spChg>
        <pc:spChg chg="del">
          <ac:chgData name="Meyer Raphael (PAR-ES)" userId="79615dfe-ed48-4e74-a40f-4f7b034c1c27" providerId="ADAL" clId="{82637165-BD6C-463E-9368-D87AAFC267FD}" dt="2021-05-07T08:26:05.002" v="89" actId="478"/>
          <ac:spMkLst>
            <pc:docMk/>
            <pc:sldMk cId="1811537745" sldId="353"/>
            <ac:spMk id="17" creationId="{785E740C-F94A-4208-8DFD-63A603C16577}"/>
          </ac:spMkLst>
        </pc:spChg>
        <pc:spChg chg="add mod">
          <ac:chgData name="Meyer Raphael (PAR-ES)" userId="79615dfe-ed48-4e74-a40f-4f7b034c1c27" providerId="ADAL" clId="{82637165-BD6C-463E-9368-D87AAFC267FD}" dt="2021-05-07T08:26:13.070" v="90"/>
          <ac:spMkLst>
            <pc:docMk/>
            <pc:sldMk cId="1811537745" sldId="353"/>
            <ac:spMk id="21" creationId="{FB2B039D-AD06-478D-BCDB-42071EB5FE08}"/>
          </ac:spMkLst>
        </pc:spChg>
        <pc:spChg chg="add mod">
          <ac:chgData name="Meyer Raphael (PAR-ES)" userId="79615dfe-ed48-4e74-a40f-4f7b034c1c27" providerId="ADAL" clId="{82637165-BD6C-463E-9368-D87AAFC267FD}" dt="2021-05-07T08:26:13.070" v="90"/>
          <ac:spMkLst>
            <pc:docMk/>
            <pc:sldMk cId="1811537745" sldId="353"/>
            <ac:spMk id="22" creationId="{DD1F5D60-0ADD-4851-97F6-B86DA3243C0E}"/>
          </ac:spMkLst>
        </pc:spChg>
        <pc:spChg chg="add mod">
          <ac:chgData name="Meyer Raphael (PAR-ES)" userId="79615dfe-ed48-4e74-a40f-4f7b034c1c27" providerId="ADAL" clId="{82637165-BD6C-463E-9368-D87AAFC267FD}" dt="2021-05-07T08:26:13.070" v="90"/>
          <ac:spMkLst>
            <pc:docMk/>
            <pc:sldMk cId="1811537745" sldId="353"/>
            <ac:spMk id="23" creationId="{50AB6593-6C25-4BD3-A28F-441B06407BBB}"/>
          </ac:spMkLst>
        </pc:spChg>
        <pc:spChg chg="add mod">
          <ac:chgData name="Meyer Raphael (PAR-ES)" userId="79615dfe-ed48-4e74-a40f-4f7b034c1c27" providerId="ADAL" clId="{82637165-BD6C-463E-9368-D87AAFC267FD}" dt="2021-05-07T08:26:13.070" v="90"/>
          <ac:spMkLst>
            <pc:docMk/>
            <pc:sldMk cId="1811537745" sldId="353"/>
            <ac:spMk id="25" creationId="{520C7219-E300-43C6-9806-34A62ED6C94B}"/>
          </ac:spMkLst>
        </pc:spChg>
        <pc:spChg chg="del">
          <ac:chgData name="Meyer Raphael (PAR-ES)" userId="79615dfe-ed48-4e74-a40f-4f7b034c1c27" providerId="ADAL" clId="{82637165-BD6C-463E-9368-D87AAFC267FD}" dt="2021-05-07T08:26:05.002" v="89" actId="478"/>
          <ac:spMkLst>
            <pc:docMk/>
            <pc:sldMk cId="1811537745" sldId="353"/>
            <ac:spMk id="26" creationId="{BFD498B5-D73E-4C8A-9FAF-B3547647538C}"/>
          </ac:spMkLst>
        </pc:spChg>
        <pc:spChg chg="mod">
          <ac:chgData name="Meyer Raphael (PAR-ES)" userId="79615dfe-ed48-4e74-a40f-4f7b034c1c27" providerId="ADAL" clId="{82637165-BD6C-463E-9368-D87AAFC267FD}" dt="2021-05-07T08:27:07.666" v="97" actId="14100"/>
          <ac:spMkLst>
            <pc:docMk/>
            <pc:sldMk cId="1811537745" sldId="353"/>
            <ac:spMk id="27" creationId="{46A6B042-39EE-4A58-BBAA-13D52264B660}"/>
          </ac:spMkLst>
        </pc:spChg>
      </pc:sldChg>
    </pc:docChg>
  </pc:docChgLst>
  <pc:docChgLst>
    <pc:chgData name="Meyer Raphael (PAR-ES)" userId="79615dfe-ed48-4e74-a40f-4f7b034c1c27" providerId="ADAL" clId="{B0E92903-F512-4B5C-8C62-1C6EC17B587B}"/>
    <pc:docChg chg="custSel addSld modSld sldOrd">
      <pc:chgData name="Meyer Raphael (PAR-ES)" userId="79615dfe-ed48-4e74-a40f-4f7b034c1c27" providerId="ADAL" clId="{B0E92903-F512-4B5C-8C62-1C6EC17B587B}" dt="2021-10-05T13:09:13.838" v="206" actId="729"/>
      <pc:docMkLst>
        <pc:docMk/>
      </pc:docMkLst>
      <pc:sldChg chg="addSp modSp add mod ord modShow">
        <pc:chgData name="Meyer Raphael (PAR-ES)" userId="79615dfe-ed48-4e74-a40f-4f7b034c1c27" providerId="ADAL" clId="{B0E92903-F512-4B5C-8C62-1C6EC17B587B}" dt="2021-10-05T13:09:09.029" v="205" actId="729"/>
        <pc:sldMkLst>
          <pc:docMk/>
          <pc:sldMk cId="4111543747" sldId="368"/>
        </pc:sldMkLst>
        <pc:spChg chg="add mod">
          <ac:chgData name="Meyer Raphael (PAR-ES)" userId="79615dfe-ed48-4e74-a40f-4f7b034c1c27" providerId="ADAL" clId="{B0E92903-F512-4B5C-8C62-1C6EC17B587B}" dt="2021-10-05T13:08:52.268" v="203" actId="1076"/>
          <ac:spMkLst>
            <pc:docMk/>
            <pc:sldMk cId="4111543747" sldId="368"/>
            <ac:spMk id="4" creationId="{36A53D69-F0A7-48F1-A475-7ED108947EAA}"/>
          </ac:spMkLst>
        </pc:spChg>
        <pc:spChg chg="mod">
          <ac:chgData name="Meyer Raphael (PAR-ES)" userId="79615dfe-ed48-4e74-a40f-4f7b034c1c27" providerId="ADAL" clId="{B0E92903-F512-4B5C-8C62-1C6EC17B587B}" dt="2021-10-05T13:01:49.774" v="60" actId="1076"/>
          <ac:spMkLst>
            <pc:docMk/>
            <pc:sldMk cId="4111543747" sldId="368"/>
            <ac:spMk id="6" creationId="{0EEE4EA3-E16E-424B-97F9-53A8F5D585AE}"/>
          </ac:spMkLst>
        </pc:spChg>
        <pc:graphicFrameChg chg="mod">
          <ac:chgData name="Meyer Raphael (PAR-ES)" userId="79615dfe-ed48-4e74-a40f-4f7b034c1c27" providerId="ADAL" clId="{B0E92903-F512-4B5C-8C62-1C6EC17B587B}" dt="2021-10-05T13:08:39.891" v="202"/>
          <ac:graphicFrameMkLst>
            <pc:docMk/>
            <pc:sldMk cId="4111543747" sldId="368"/>
            <ac:graphicFrameMk id="5" creationId="{4CF6AB8B-CAB9-4C7E-8E59-E00357A4D7F0}"/>
          </ac:graphicFrameMkLst>
        </pc:graphicFrameChg>
      </pc:sldChg>
      <pc:sldChg chg="addSp delSp modSp add mod modShow">
        <pc:chgData name="Meyer Raphael (PAR-ES)" userId="79615dfe-ed48-4e74-a40f-4f7b034c1c27" providerId="ADAL" clId="{B0E92903-F512-4B5C-8C62-1C6EC17B587B}" dt="2021-10-05T13:09:13.838" v="206" actId="729"/>
        <pc:sldMkLst>
          <pc:docMk/>
          <pc:sldMk cId="2479672112" sldId="369"/>
        </pc:sldMkLst>
        <pc:spChg chg="mod">
          <ac:chgData name="Meyer Raphael (PAR-ES)" userId="79615dfe-ed48-4e74-a40f-4f7b034c1c27" providerId="ADAL" clId="{B0E92903-F512-4B5C-8C62-1C6EC17B587B}" dt="2021-10-05T13:06:12.239" v="188" actId="1035"/>
          <ac:spMkLst>
            <pc:docMk/>
            <pc:sldMk cId="2479672112" sldId="369"/>
            <ac:spMk id="12" creationId="{970D2C07-63A2-4265-B006-56F685FE80A5}"/>
          </ac:spMkLst>
        </pc:spChg>
        <pc:spChg chg="mod">
          <ac:chgData name="Meyer Raphael (PAR-ES)" userId="79615dfe-ed48-4e74-a40f-4f7b034c1c27" providerId="ADAL" clId="{B0E92903-F512-4B5C-8C62-1C6EC17B587B}" dt="2021-10-05T13:06:12.239" v="188" actId="1035"/>
          <ac:spMkLst>
            <pc:docMk/>
            <pc:sldMk cId="2479672112" sldId="369"/>
            <ac:spMk id="13" creationId="{93412675-62AA-41D8-997C-4E877ED953A8}"/>
          </ac:spMkLst>
        </pc:spChg>
        <pc:spChg chg="add mod">
          <ac:chgData name="Meyer Raphael (PAR-ES)" userId="79615dfe-ed48-4e74-a40f-4f7b034c1c27" providerId="ADAL" clId="{B0E92903-F512-4B5C-8C62-1C6EC17B587B}" dt="2021-10-05T13:08:57.325" v="204"/>
          <ac:spMkLst>
            <pc:docMk/>
            <pc:sldMk cId="2479672112" sldId="369"/>
            <ac:spMk id="15" creationId="{08D65015-F9CA-44B6-99AD-28C21DDCAEF8}"/>
          </ac:spMkLst>
        </pc:spChg>
        <pc:graphicFrameChg chg="mod">
          <ac:chgData name="Meyer Raphael (PAR-ES)" userId="79615dfe-ed48-4e74-a40f-4f7b034c1c27" providerId="ADAL" clId="{B0E92903-F512-4B5C-8C62-1C6EC17B587B}" dt="2021-10-05T13:05:51.452" v="150" actId="1036"/>
          <ac:graphicFrameMkLst>
            <pc:docMk/>
            <pc:sldMk cId="2479672112" sldId="369"/>
            <ac:graphicFrameMk id="5" creationId="{4CF6AB8B-CAB9-4C7E-8E59-E00357A4D7F0}"/>
          </ac:graphicFrameMkLst>
        </pc:graphicFrameChg>
        <pc:graphicFrameChg chg="del">
          <ac:chgData name="Meyer Raphael (PAR-ES)" userId="79615dfe-ed48-4e74-a40f-4f7b034c1c27" providerId="ADAL" clId="{B0E92903-F512-4B5C-8C62-1C6EC17B587B}" dt="2021-10-05T13:05:43.422" v="109" actId="21"/>
          <ac:graphicFrameMkLst>
            <pc:docMk/>
            <pc:sldMk cId="2479672112" sldId="369"/>
            <ac:graphicFrameMk id="9" creationId="{E1369C63-C4A7-403B-A03F-B004599F910A}"/>
          </ac:graphicFrameMkLst>
        </pc:graphicFrameChg>
        <pc:graphicFrameChg chg="add mod">
          <ac:chgData name="Meyer Raphael (PAR-ES)" userId="79615dfe-ed48-4e74-a40f-4f7b034c1c27" providerId="ADAL" clId="{B0E92903-F512-4B5C-8C62-1C6EC17B587B}" dt="2021-10-05T13:07:28.054" v="191" actId="693"/>
          <ac:graphicFrameMkLst>
            <pc:docMk/>
            <pc:sldMk cId="2479672112" sldId="369"/>
            <ac:graphicFrameMk id="14" creationId="{448E30CC-0B60-4748-AEB6-C3648EB8AB40}"/>
          </ac:graphicFrameMkLst>
        </pc:graphicFrameChg>
        <pc:cxnChg chg="mod">
          <ac:chgData name="Meyer Raphael (PAR-ES)" userId="79615dfe-ed48-4e74-a40f-4f7b034c1c27" providerId="ADAL" clId="{B0E92903-F512-4B5C-8C62-1C6EC17B587B}" dt="2021-10-05T13:06:23.456" v="189" actId="14100"/>
          <ac:cxnSpMkLst>
            <pc:docMk/>
            <pc:sldMk cId="2479672112" sldId="369"/>
            <ac:cxnSpMk id="8" creationId="{6F3EB9D3-E612-42D9-859B-1905BD876C26}"/>
          </ac:cxnSpMkLst>
        </pc:cxnChg>
      </pc:sldChg>
    </pc:docChg>
  </pc:docChgLst>
  <pc:docChgLst>
    <pc:chgData name="Meyer Raphael (PAR-ES)" userId="79615dfe-ed48-4e74-a40f-4f7b034c1c27" providerId="ADAL" clId="{5528737C-C315-4961-BADA-2AFD94279709}"/>
    <pc:docChg chg="custSel addSld delSld modSld sldOrd">
      <pc:chgData name="Meyer Raphael (PAR-ES)" userId="79615dfe-ed48-4e74-a40f-4f7b034c1c27" providerId="ADAL" clId="{5528737C-C315-4961-BADA-2AFD94279709}" dt="2021-02-04T09:20:18.670" v="64" actId="2696"/>
      <pc:docMkLst>
        <pc:docMk/>
      </pc:docMkLst>
      <pc:sldChg chg="modSp mod">
        <pc:chgData name="Meyer Raphael (PAR-ES)" userId="79615dfe-ed48-4e74-a40f-4f7b034c1c27" providerId="ADAL" clId="{5528737C-C315-4961-BADA-2AFD94279709}" dt="2021-02-04T09:16:40.032" v="47" actId="20577"/>
        <pc:sldMkLst>
          <pc:docMk/>
          <pc:sldMk cId="1667945532" sldId="306"/>
        </pc:sldMkLst>
        <pc:spChg chg="mod">
          <ac:chgData name="Meyer Raphael (PAR-ES)" userId="79615dfe-ed48-4e74-a40f-4f7b034c1c27" providerId="ADAL" clId="{5528737C-C315-4961-BADA-2AFD94279709}" dt="2021-02-04T09:14:18.918" v="25" actId="20577"/>
          <ac:spMkLst>
            <pc:docMk/>
            <pc:sldMk cId="1667945532" sldId="306"/>
            <ac:spMk id="8" creationId="{5857C2A1-2CB8-4D4A-AEFD-E809BF73D04F}"/>
          </ac:spMkLst>
        </pc:spChg>
        <pc:spChg chg="mod">
          <ac:chgData name="Meyer Raphael (PAR-ES)" userId="79615dfe-ed48-4e74-a40f-4f7b034c1c27" providerId="ADAL" clId="{5528737C-C315-4961-BADA-2AFD94279709}" dt="2021-02-04T09:14:09.807" v="23" actId="20577"/>
          <ac:spMkLst>
            <pc:docMk/>
            <pc:sldMk cId="1667945532" sldId="306"/>
            <ac:spMk id="27" creationId="{46A6B042-39EE-4A58-BBAA-13D52264B660}"/>
          </ac:spMkLst>
        </pc:spChg>
        <pc:spChg chg="mod">
          <ac:chgData name="Meyer Raphael (PAR-ES)" userId="79615dfe-ed48-4e74-a40f-4f7b034c1c27" providerId="ADAL" clId="{5528737C-C315-4961-BADA-2AFD94279709}" dt="2021-02-04T09:16:40.032" v="47" actId="20577"/>
          <ac:spMkLst>
            <pc:docMk/>
            <pc:sldMk cId="1667945532" sldId="306"/>
            <ac:spMk id="31" creationId="{7491A47D-CAD4-478D-8F3A-296FFCB799F9}"/>
          </ac:spMkLst>
        </pc:spChg>
      </pc:sldChg>
      <pc:sldChg chg="del">
        <pc:chgData name="Meyer Raphael (PAR-ES)" userId="79615dfe-ed48-4e74-a40f-4f7b034c1c27" providerId="ADAL" clId="{5528737C-C315-4961-BADA-2AFD94279709}" dt="2021-02-04T09:18:44.866" v="57" actId="2696"/>
        <pc:sldMkLst>
          <pc:docMk/>
          <pc:sldMk cId="3848357479" sldId="323"/>
        </pc:sldMkLst>
      </pc:sldChg>
      <pc:sldChg chg="del">
        <pc:chgData name="Meyer Raphael (PAR-ES)" userId="79615dfe-ed48-4e74-a40f-4f7b034c1c27" providerId="ADAL" clId="{5528737C-C315-4961-BADA-2AFD94279709}" dt="2021-02-04T09:20:18.670" v="64" actId="2696"/>
        <pc:sldMkLst>
          <pc:docMk/>
          <pc:sldMk cId="2334667298" sldId="324"/>
        </pc:sldMkLst>
      </pc:sldChg>
      <pc:sldChg chg="addSp delSp modSp add ord">
        <pc:chgData name="Meyer Raphael (PAR-ES)" userId="79615dfe-ed48-4e74-a40f-4f7b034c1c27" providerId="ADAL" clId="{5528737C-C315-4961-BADA-2AFD94279709}" dt="2021-02-04T09:18:15.544" v="56"/>
        <pc:sldMkLst>
          <pc:docMk/>
          <pc:sldMk cId="3641903134" sldId="326"/>
        </pc:sldMkLst>
        <pc:spChg chg="mod">
          <ac:chgData name="Meyer Raphael (PAR-ES)" userId="79615dfe-ed48-4e74-a40f-4f7b034c1c27" providerId="ADAL" clId="{5528737C-C315-4961-BADA-2AFD94279709}" dt="2021-02-04T09:17:54.175" v="54"/>
          <ac:spMkLst>
            <pc:docMk/>
            <pc:sldMk cId="3641903134" sldId="326"/>
            <ac:spMk id="2" creationId="{A2DC317F-F1F4-4624-8FC1-3B68C1DBB3DA}"/>
          </ac:spMkLst>
        </pc:spChg>
        <pc:spChg chg="del">
          <ac:chgData name="Meyer Raphael (PAR-ES)" userId="79615dfe-ed48-4e74-a40f-4f7b034c1c27" providerId="ADAL" clId="{5528737C-C315-4961-BADA-2AFD94279709}" dt="2021-02-04T09:17:28.969" v="52" actId="478"/>
          <ac:spMkLst>
            <pc:docMk/>
            <pc:sldMk cId="3641903134" sldId="326"/>
            <ac:spMk id="7" creationId="{BA3F9A72-0541-4D1F-8CD8-1C2B8074FA1B}"/>
          </ac:spMkLst>
        </pc:spChg>
        <pc:spChg chg="del">
          <ac:chgData name="Meyer Raphael (PAR-ES)" userId="79615dfe-ed48-4e74-a40f-4f7b034c1c27" providerId="ADAL" clId="{5528737C-C315-4961-BADA-2AFD94279709}" dt="2021-02-04T09:17:28.969" v="52" actId="478"/>
          <ac:spMkLst>
            <pc:docMk/>
            <pc:sldMk cId="3641903134" sldId="326"/>
            <ac:spMk id="8" creationId="{5857C2A1-2CB8-4D4A-AEFD-E809BF73D04F}"/>
          </ac:spMkLst>
        </pc:spChg>
        <pc:spChg chg="del">
          <ac:chgData name="Meyer Raphael (PAR-ES)" userId="79615dfe-ed48-4e74-a40f-4f7b034c1c27" providerId="ADAL" clId="{5528737C-C315-4961-BADA-2AFD94279709}" dt="2021-02-04T09:17:28.969" v="52" actId="478"/>
          <ac:spMkLst>
            <pc:docMk/>
            <pc:sldMk cId="3641903134" sldId="326"/>
            <ac:spMk id="9" creationId="{B6990B61-32B2-4ADC-BF01-EDF7B4080F97}"/>
          </ac:spMkLst>
        </pc:spChg>
        <pc:spChg chg="mod">
          <ac:chgData name="Meyer Raphael (PAR-ES)" userId="79615dfe-ed48-4e74-a40f-4f7b034c1c27" providerId="ADAL" clId="{5528737C-C315-4961-BADA-2AFD94279709}" dt="2021-02-04T09:18:04.885" v="55"/>
          <ac:spMkLst>
            <pc:docMk/>
            <pc:sldMk cId="3641903134" sldId="326"/>
            <ac:spMk id="10" creationId="{077DFD58-E5EE-4B68-9325-D935DB04DD40}"/>
          </ac:spMkLst>
        </pc:spChg>
        <pc:spChg chg="del">
          <ac:chgData name="Meyer Raphael (PAR-ES)" userId="79615dfe-ed48-4e74-a40f-4f7b034c1c27" providerId="ADAL" clId="{5528737C-C315-4961-BADA-2AFD94279709}" dt="2021-02-04T09:17:28.969" v="52" actId="478"/>
          <ac:spMkLst>
            <pc:docMk/>
            <pc:sldMk cId="3641903134" sldId="326"/>
            <ac:spMk id="17" creationId="{785E740C-F94A-4208-8DFD-63A603C16577}"/>
          </ac:spMkLst>
        </pc:spChg>
        <pc:spChg chg="del">
          <ac:chgData name="Meyer Raphael (PAR-ES)" userId="79615dfe-ed48-4e74-a40f-4f7b034c1c27" providerId="ADAL" clId="{5528737C-C315-4961-BADA-2AFD94279709}" dt="2021-02-04T09:17:28.969" v="52" actId="478"/>
          <ac:spMkLst>
            <pc:docMk/>
            <pc:sldMk cId="3641903134" sldId="326"/>
            <ac:spMk id="26" creationId="{BFD498B5-D73E-4C8A-9FAF-B3547647538C}"/>
          </ac:spMkLst>
        </pc:spChg>
        <pc:spChg chg="mod">
          <ac:chgData name="Meyer Raphael (PAR-ES)" userId="79615dfe-ed48-4e74-a40f-4f7b034c1c27" providerId="ADAL" clId="{5528737C-C315-4961-BADA-2AFD94279709}" dt="2021-02-04T09:18:15.544" v="56"/>
          <ac:spMkLst>
            <pc:docMk/>
            <pc:sldMk cId="3641903134" sldId="326"/>
            <ac:spMk id="27" creationId="{46A6B042-39EE-4A58-BBAA-13D52264B660}"/>
          </ac:spMkLst>
        </pc:spChg>
        <pc:spChg chg="add">
          <ac:chgData name="Meyer Raphael (PAR-ES)" userId="79615dfe-ed48-4e74-a40f-4f7b034c1c27" providerId="ADAL" clId="{5528737C-C315-4961-BADA-2AFD94279709}" dt="2021-02-04T09:17:43.512" v="53"/>
          <ac:spMkLst>
            <pc:docMk/>
            <pc:sldMk cId="3641903134" sldId="326"/>
            <ac:spMk id="36" creationId="{B69A5B07-E96F-416B-92F4-DAFF83FC00B2}"/>
          </ac:spMkLst>
        </pc:spChg>
        <pc:spChg chg="add">
          <ac:chgData name="Meyer Raphael (PAR-ES)" userId="79615dfe-ed48-4e74-a40f-4f7b034c1c27" providerId="ADAL" clId="{5528737C-C315-4961-BADA-2AFD94279709}" dt="2021-02-04T09:17:43.512" v="53"/>
          <ac:spMkLst>
            <pc:docMk/>
            <pc:sldMk cId="3641903134" sldId="326"/>
            <ac:spMk id="38" creationId="{35AF69BD-D9E3-48BC-8B9F-970669FD37B5}"/>
          </ac:spMkLst>
        </pc:spChg>
        <pc:spChg chg="add">
          <ac:chgData name="Meyer Raphael (PAR-ES)" userId="79615dfe-ed48-4e74-a40f-4f7b034c1c27" providerId="ADAL" clId="{5528737C-C315-4961-BADA-2AFD94279709}" dt="2021-02-04T09:17:43.512" v="53"/>
          <ac:spMkLst>
            <pc:docMk/>
            <pc:sldMk cId="3641903134" sldId="326"/>
            <ac:spMk id="39" creationId="{6CA1E68D-9C90-45A5-BC20-B3318C6C8E13}"/>
          </ac:spMkLst>
        </pc:spChg>
        <pc:spChg chg="add">
          <ac:chgData name="Meyer Raphael (PAR-ES)" userId="79615dfe-ed48-4e74-a40f-4f7b034c1c27" providerId="ADAL" clId="{5528737C-C315-4961-BADA-2AFD94279709}" dt="2021-02-04T09:17:43.512" v="53"/>
          <ac:spMkLst>
            <pc:docMk/>
            <pc:sldMk cId="3641903134" sldId="326"/>
            <ac:spMk id="40" creationId="{D85C4715-7B41-4B86-B025-1D7EEB9511B9}"/>
          </ac:spMkLst>
        </pc:spChg>
        <pc:spChg chg="add">
          <ac:chgData name="Meyer Raphael (PAR-ES)" userId="79615dfe-ed48-4e74-a40f-4f7b034c1c27" providerId="ADAL" clId="{5528737C-C315-4961-BADA-2AFD94279709}" dt="2021-02-04T09:17:43.512" v="53"/>
          <ac:spMkLst>
            <pc:docMk/>
            <pc:sldMk cId="3641903134" sldId="326"/>
            <ac:spMk id="41" creationId="{A4718125-B677-437A-8CA6-03417515568C}"/>
          </ac:spMkLst>
        </pc:spChg>
      </pc:sldChg>
      <pc:sldChg chg="addSp delSp modSp add ord">
        <pc:chgData name="Meyer Raphael (PAR-ES)" userId="79615dfe-ed48-4e74-a40f-4f7b034c1c27" providerId="ADAL" clId="{5528737C-C315-4961-BADA-2AFD94279709}" dt="2021-02-04T09:20:06.672" v="63" actId="14100"/>
        <pc:sldMkLst>
          <pc:docMk/>
          <pc:sldMk cId="3348111305" sldId="327"/>
        </pc:sldMkLst>
        <pc:spChg chg="mod">
          <ac:chgData name="Meyer Raphael (PAR-ES)" userId="79615dfe-ed48-4e74-a40f-4f7b034c1c27" providerId="ADAL" clId="{5528737C-C315-4961-BADA-2AFD94279709}" dt="2021-02-04T09:19:33.942" v="60"/>
          <ac:spMkLst>
            <pc:docMk/>
            <pc:sldMk cId="3348111305" sldId="327"/>
            <ac:spMk id="2" creationId="{A2DC317F-F1F4-4624-8FC1-3B68C1DBB3DA}"/>
          </ac:spMkLst>
        </pc:spChg>
        <pc:spChg chg="del">
          <ac:chgData name="Meyer Raphael (PAR-ES)" userId="79615dfe-ed48-4e74-a40f-4f7b034c1c27" providerId="ADAL" clId="{5528737C-C315-4961-BADA-2AFD94279709}" dt="2021-02-04T09:19:09.405" v="58" actId="478"/>
          <ac:spMkLst>
            <pc:docMk/>
            <pc:sldMk cId="3348111305" sldId="327"/>
            <ac:spMk id="7" creationId="{BA3F9A72-0541-4D1F-8CD8-1C2B8074FA1B}"/>
          </ac:spMkLst>
        </pc:spChg>
        <pc:spChg chg="del">
          <ac:chgData name="Meyer Raphael (PAR-ES)" userId="79615dfe-ed48-4e74-a40f-4f7b034c1c27" providerId="ADAL" clId="{5528737C-C315-4961-BADA-2AFD94279709}" dt="2021-02-04T09:19:09.405" v="58" actId="478"/>
          <ac:spMkLst>
            <pc:docMk/>
            <pc:sldMk cId="3348111305" sldId="327"/>
            <ac:spMk id="8" creationId="{5857C2A1-2CB8-4D4A-AEFD-E809BF73D04F}"/>
          </ac:spMkLst>
        </pc:spChg>
        <pc:spChg chg="del">
          <ac:chgData name="Meyer Raphael (PAR-ES)" userId="79615dfe-ed48-4e74-a40f-4f7b034c1c27" providerId="ADAL" clId="{5528737C-C315-4961-BADA-2AFD94279709}" dt="2021-02-04T09:19:09.405" v="58" actId="478"/>
          <ac:spMkLst>
            <pc:docMk/>
            <pc:sldMk cId="3348111305" sldId="327"/>
            <ac:spMk id="9" creationId="{B6990B61-32B2-4ADC-BF01-EDF7B4080F97}"/>
          </ac:spMkLst>
        </pc:spChg>
        <pc:spChg chg="mod">
          <ac:chgData name="Meyer Raphael (PAR-ES)" userId="79615dfe-ed48-4e74-a40f-4f7b034c1c27" providerId="ADAL" clId="{5528737C-C315-4961-BADA-2AFD94279709}" dt="2021-02-04T09:19:47.250" v="61"/>
          <ac:spMkLst>
            <pc:docMk/>
            <pc:sldMk cId="3348111305" sldId="327"/>
            <ac:spMk id="10" creationId="{077DFD58-E5EE-4B68-9325-D935DB04DD40}"/>
          </ac:spMkLst>
        </pc:spChg>
        <pc:spChg chg="del">
          <ac:chgData name="Meyer Raphael (PAR-ES)" userId="79615dfe-ed48-4e74-a40f-4f7b034c1c27" providerId="ADAL" clId="{5528737C-C315-4961-BADA-2AFD94279709}" dt="2021-02-04T09:19:09.405" v="58" actId="478"/>
          <ac:spMkLst>
            <pc:docMk/>
            <pc:sldMk cId="3348111305" sldId="327"/>
            <ac:spMk id="17" creationId="{785E740C-F94A-4208-8DFD-63A603C16577}"/>
          </ac:spMkLst>
        </pc:spChg>
        <pc:spChg chg="del">
          <ac:chgData name="Meyer Raphael (PAR-ES)" userId="79615dfe-ed48-4e74-a40f-4f7b034c1c27" providerId="ADAL" clId="{5528737C-C315-4961-BADA-2AFD94279709}" dt="2021-02-04T09:19:09.405" v="58" actId="478"/>
          <ac:spMkLst>
            <pc:docMk/>
            <pc:sldMk cId="3348111305" sldId="327"/>
            <ac:spMk id="26" creationId="{BFD498B5-D73E-4C8A-9FAF-B3547647538C}"/>
          </ac:spMkLst>
        </pc:spChg>
        <pc:spChg chg="mod">
          <ac:chgData name="Meyer Raphael (PAR-ES)" userId="79615dfe-ed48-4e74-a40f-4f7b034c1c27" providerId="ADAL" clId="{5528737C-C315-4961-BADA-2AFD94279709}" dt="2021-02-04T09:20:06.672" v="63" actId="14100"/>
          <ac:spMkLst>
            <pc:docMk/>
            <pc:sldMk cId="3348111305" sldId="327"/>
            <ac:spMk id="27" creationId="{46A6B042-39EE-4A58-BBAA-13D52264B660}"/>
          </ac:spMkLst>
        </pc:spChg>
        <pc:spChg chg="add">
          <ac:chgData name="Meyer Raphael (PAR-ES)" userId="79615dfe-ed48-4e74-a40f-4f7b034c1c27" providerId="ADAL" clId="{5528737C-C315-4961-BADA-2AFD94279709}" dt="2021-02-04T09:19:23.408" v="59"/>
          <ac:spMkLst>
            <pc:docMk/>
            <pc:sldMk cId="3348111305" sldId="327"/>
            <ac:spMk id="36" creationId="{69A2CC5D-E7DE-44F5-BFB7-8431BD6704F8}"/>
          </ac:spMkLst>
        </pc:spChg>
        <pc:spChg chg="add">
          <ac:chgData name="Meyer Raphael (PAR-ES)" userId="79615dfe-ed48-4e74-a40f-4f7b034c1c27" providerId="ADAL" clId="{5528737C-C315-4961-BADA-2AFD94279709}" dt="2021-02-04T09:19:23.408" v="59"/>
          <ac:spMkLst>
            <pc:docMk/>
            <pc:sldMk cId="3348111305" sldId="327"/>
            <ac:spMk id="38" creationId="{4E217782-0B12-41FA-A97D-B152FA119DB5}"/>
          </ac:spMkLst>
        </pc:spChg>
        <pc:spChg chg="add">
          <ac:chgData name="Meyer Raphael (PAR-ES)" userId="79615dfe-ed48-4e74-a40f-4f7b034c1c27" providerId="ADAL" clId="{5528737C-C315-4961-BADA-2AFD94279709}" dt="2021-02-04T09:19:23.408" v="59"/>
          <ac:spMkLst>
            <pc:docMk/>
            <pc:sldMk cId="3348111305" sldId="327"/>
            <ac:spMk id="39" creationId="{B8235BC5-BE3E-46AF-A605-AFC9661751D1}"/>
          </ac:spMkLst>
        </pc:spChg>
        <pc:spChg chg="add">
          <ac:chgData name="Meyer Raphael (PAR-ES)" userId="79615dfe-ed48-4e74-a40f-4f7b034c1c27" providerId="ADAL" clId="{5528737C-C315-4961-BADA-2AFD94279709}" dt="2021-02-04T09:19:23.408" v="59"/>
          <ac:spMkLst>
            <pc:docMk/>
            <pc:sldMk cId="3348111305" sldId="327"/>
            <ac:spMk id="40" creationId="{926928CE-8B57-47B4-904C-6FF3C22107AF}"/>
          </ac:spMkLst>
        </pc:spChg>
        <pc:spChg chg="add">
          <ac:chgData name="Meyer Raphael (PAR-ES)" userId="79615dfe-ed48-4e74-a40f-4f7b034c1c27" providerId="ADAL" clId="{5528737C-C315-4961-BADA-2AFD94279709}" dt="2021-02-04T09:19:23.408" v="59"/>
          <ac:spMkLst>
            <pc:docMk/>
            <pc:sldMk cId="3348111305" sldId="327"/>
            <ac:spMk id="41" creationId="{3CE54247-5290-47C5-A732-A82FB2D50E0A}"/>
          </ac:spMkLst>
        </pc:spChg>
      </pc:sldChg>
    </pc:docChg>
  </pc:docChgLst>
  <pc:docChgLst>
    <pc:chgData name="Meyer Raphael (PAR-ES)" userId="79615dfe-ed48-4e74-a40f-4f7b034c1c27" providerId="ADAL" clId="{EF1FC0F8-B9C4-4F2D-A33F-C755998C42B1}"/>
    <pc:docChg chg="modSld">
      <pc:chgData name="Meyer Raphael (PAR-ES)" userId="79615dfe-ed48-4e74-a40f-4f7b034c1c27" providerId="ADAL" clId="{EF1FC0F8-B9C4-4F2D-A33F-C755998C42B1}" dt="2021-07-09T09:26:33.786" v="93" actId="1038"/>
      <pc:docMkLst>
        <pc:docMk/>
      </pc:docMkLst>
      <pc:sldChg chg="modSp mod">
        <pc:chgData name="Meyer Raphael (PAR-ES)" userId="79615dfe-ed48-4e74-a40f-4f7b034c1c27" providerId="ADAL" clId="{EF1FC0F8-B9C4-4F2D-A33F-C755998C42B1}" dt="2021-07-09T09:22:24.942" v="50" actId="27918"/>
        <pc:sldMkLst>
          <pc:docMk/>
          <pc:sldMk cId="1495152177" sldId="298"/>
        </pc:sldMkLst>
        <pc:spChg chg="mod">
          <ac:chgData name="Meyer Raphael (PAR-ES)" userId="79615dfe-ed48-4e74-a40f-4f7b034c1c27" providerId="ADAL" clId="{EF1FC0F8-B9C4-4F2D-A33F-C755998C42B1}" dt="2021-07-09T09:22:11.032" v="48" actId="1037"/>
          <ac:spMkLst>
            <pc:docMk/>
            <pc:sldMk cId="1495152177" sldId="298"/>
            <ac:spMk id="12" creationId="{970D2C07-63A2-4265-B006-56F685FE80A5}"/>
          </ac:spMkLst>
        </pc:spChg>
        <pc:spChg chg="mod">
          <ac:chgData name="Meyer Raphael (PAR-ES)" userId="79615dfe-ed48-4e74-a40f-4f7b034c1c27" providerId="ADAL" clId="{EF1FC0F8-B9C4-4F2D-A33F-C755998C42B1}" dt="2021-07-09T09:22:11.032" v="48" actId="1037"/>
          <ac:spMkLst>
            <pc:docMk/>
            <pc:sldMk cId="1495152177" sldId="298"/>
            <ac:spMk id="13" creationId="{93412675-62AA-41D8-997C-4E877ED953A8}"/>
          </ac:spMkLst>
        </pc:spChg>
        <pc:graphicFrameChg chg="modGraphic">
          <ac:chgData name="Meyer Raphael (PAR-ES)" userId="79615dfe-ed48-4e74-a40f-4f7b034c1c27" providerId="ADAL" clId="{EF1FC0F8-B9C4-4F2D-A33F-C755998C42B1}" dt="2021-07-09T09:16:49.409" v="1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F1FC0F8-B9C4-4F2D-A33F-C755998C42B1}" dt="2021-07-09T09:22:11.032" v="48" actId="1037"/>
          <ac:cxnSpMkLst>
            <pc:docMk/>
            <pc:sldMk cId="1495152177" sldId="298"/>
            <ac:cxnSpMk id="8" creationId="{6F3EB9D3-E612-42D9-859B-1905BD876C26}"/>
          </ac:cxnSpMkLst>
        </pc:cxnChg>
      </pc:sldChg>
      <pc:sldChg chg="modSp mod">
        <pc:chgData name="Meyer Raphael (PAR-ES)" userId="79615dfe-ed48-4e74-a40f-4f7b034c1c27" providerId="ADAL" clId="{EF1FC0F8-B9C4-4F2D-A33F-C755998C42B1}" dt="2021-07-09T09:24:31.830" v="72" actId="1038"/>
        <pc:sldMkLst>
          <pc:docMk/>
          <pc:sldMk cId="3590012689" sldId="365"/>
        </pc:sldMkLst>
        <pc:spChg chg="mod">
          <ac:chgData name="Meyer Raphael (PAR-ES)" userId="79615dfe-ed48-4e74-a40f-4f7b034c1c27" providerId="ADAL" clId="{EF1FC0F8-B9C4-4F2D-A33F-C755998C42B1}" dt="2021-07-09T09:24:31.830" v="72" actId="1038"/>
          <ac:spMkLst>
            <pc:docMk/>
            <pc:sldMk cId="3590012689" sldId="365"/>
            <ac:spMk id="12" creationId="{970D2C07-63A2-4265-B006-56F685FE80A5}"/>
          </ac:spMkLst>
        </pc:spChg>
        <pc:spChg chg="mod">
          <ac:chgData name="Meyer Raphael (PAR-ES)" userId="79615dfe-ed48-4e74-a40f-4f7b034c1c27" providerId="ADAL" clId="{EF1FC0F8-B9C4-4F2D-A33F-C755998C42B1}" dt="2021-07-09T09:24:31.830" v="72" actId="1038"/>
          <ac:spMkLst>
            <pc:docMk/>
            <pc:sldMk cId="3590012689" sldId="365"/>
            <ac:spMk id="13" creationId="{93412675-62AA-41D8-997C-4E877ED953A8}"/>
          </ac:spMkLst>
        </pc:spChg>
        <pc:graphicFrameChg chg="mod modGraphic">
          <ac:chgData name="Meyer Raphael (PAR-ES)" userId="79615dfe-ed48-4e74-a40f-4f7b034c1c27" providerId="ADAL" clId="{EF1FC0F8-B9C4-4F2D-A33F-C755998C42B1}" dt="2021-07-09T09:17:17.209" v="16"/>
          <ac:graphicFrameMkLst>
            <pc:docMk/>
            <pc:sldMk cId="3590012689" sldId="365"/>
            <ac:graphicFrameMk id="9" creationId="{E1369C63-C4A7-403B-A03F-B004599F910A}"/>
          </ac:graphicFrameMkLst>
        </pc:graphicFrameChg>
        <pc:cxnChg chg="mod">
          <ac:chgData name="Meyer Raphael (PAR-ES)" userId="79615dfe-ed48-4e74-a40f-4f7b034c1c27" providerId="ADAL" clId="{EF1FC0F8-B9C4-4F2D-A33F-C755998C42B1}" dt="2021-07-09T09:24:31.830" v="72" actId="1038"/>
          <ac:cxnSpMkLst>
            <pc:docMk/>
            <pc:sldMk cId="3590012689" sldId="365"/>
            <ac:cxnSpMk id="8" creationId="{6F3EB9D3-E612-42D9-859B-1905BD876C26}"/>
          </ac:cxnSpMkLst>
        </pc:cxnChg>
      </pc:sldChg>
      <pc:sldChg chg="modSp mod">
        <pc:chgData name="Meyer Raphael (PAR-ES)" userId="79615dfe-ed48-4e74-a40f-4f7b034c1c27" providerId="ADAL" clId="{EF1FC0F8-B9C4-4F2D-A33F-C755998C42B1}" dt="2021-07-09T09:26:33.786" v="93" actId="1038"/>
        <pc:sldMkLst>
          <pc:docMk/>
          <pc:sldMk cId="689864941" sldId="366"/>
        </pc:sldMkLst>
        <pc:spChg chg="mod">
          <ac:chgData name="Meyer Raphael (PAR-ES)" userId="79615dfe-ed48-4e74-a40f-4f7b034c1c27" providerId="ADAL" clId="{EF1FC0F8-B9C4-4F2D-A33F-C755998C42B1}" dt="2021-07-09T09:26:33.786" v="93" actId="1038"/>
          <ac:spMkLst>
            <pc:docMk/>
            <pc:sldMk cId="689864941" sldId="366"/>
            <ac:spMk id="12" creationId="{970D2C07-63A2-4265-B006-56F685FE80A5}"/>
          </ac:spMkLst>
        </pc:spChg>
        <pc:spChg chg="mod">
          <ac:chgData name="Meyer Raphael (PAR-ES)" userId="79615dfe-ed48-4e74-a40f-4f7b034c1c27" providerId="ADAL" clId="{EF1FC0F8-B9C4-4F2D-A33F-C755998C42B1}" dt="2021-07-09T09:26:33.786" v="93" actId="1038"/>
          <ac:spMkLst>
            <pc:docMk/>
            <pc:sldMk cId="689864941" sldId="366"/>
            <ac:spMk id="13" creationId="{93412675-62AA-41D8-997C-4E877ED953A8}"/>
          </ac:spMkLst>
        </pc:spChg>
        <pc:graphicFrameChg chg="mod modGraphic">
          <ac:chgData name="Meyer Raphael (PAR-ES)" userId="79615dfe-ed48-4e74-a40f-4f7b034c1c27" providerId="ADAL" clId="{EF1FC0F8-B9C4-4F2D-A33F-C755998C42B1}" dt="2021-07-09T09:17:21.223" v="17"/>
          <ac:graphicFrameMkLst>
            <pc:docMk/>
            <pc:sldMk cId="689864941" sldId="366"/>
            <ac:graphicFrameMk id="9" creationId="{E1369C63-C4A7-403B-A03F-B004599F910A}"/>
          </ac:graphicFrameMkLst>
        </pc:graphicFrameChg>
        <pc:cxnChg chg="mod">
          <ac:chgData name="Meyer Raphael (PAR-ES)" userId="79615dfe-ed48-4e74-a40f-4f7b034c1c27" providerId="ADAL" clId="{EF1FC0F8-B9C4-4F2D-A33F-C755998C42B1}" dt="2021-07-09T09:26:33.786" v="93" actId="1038"/>
          <ac:cxnSpMkLst>
            <pc:docMk/>
            <pc:sldMk cId="689864941" sldId="366"/>
            <ac:cxnSpMk id="8" creationId="{6F3EB9D3-E612-42D9-859B-1905BD876C26}"/>
          </ac:cxnSpMkLst>
        </pc:cxnChg>
      </pc:sldChg>
    </pc:docChg>
  </pc:docChgLst>
  <pc:docChgLst>
    <pc:chgData name="Meyer Raphael (PAR-ES)" userId="79615dfe-ed48-4e74-a40f-4f7b034c1c27" providerId="ADAL" clId="{89FC39B2-103A-4EEF-895E-3C08461244ED}"/>
    <pc:docChg chg="modSld">
      <pc:chgData name="Meyer Raphael (PAR-ES)" userId="79615dfe-ed48-4e74-a40f-4f7b034c1c27" providerId="ADAL" clId="{89FC39B2-103A-4EEF-895E-3C08461244ED}" dt="2021-10-01T08:41:50.683" v="29" actId="1037"/>
      <pc:docMkLst>
        <pc:docMk/>
      </pc:docMkLst>
      <pc:sldChg chg="modSp mod">
        <pc:chgData name="Meyer Raphael (PAR-ES)" userId="79615dfe-ed48-4e74-a40f-4f7b034c1c27" providerId="ADAL" clId="{89FC39B2-103A-4EEF-895E-3C08461244ED}" dt="2021-10-01T08:41:16.302" v="10" actId="1038"/>
        <pc:sldMkLst>
          <pc:docMk/>
          <pc:sldMk cId="1495152177" sldId="298"/>
        </pc:sldMkLst>
        <pc:spChg chg="mod">
          <ac:chgData name="Meyer Raphael (PAR-ES)" userId="79615dfe-ed48-4e74-a40f-4f7b034c1c27" providerId="ADAL" clId="{89FC39B2-103A-4EEF-895E-3C08461244ED}" dt="2021-10-01T08:41:16.302" v="10" actId="1038"/>
          <ac:spMkLst>
            <pc:docMk/>
            <pc:sldMk cId="1495152177" sldId="298"/>
            <ac:spMk id="12" creationId="{970D2C07-63A2-4265-B006-56F685FE80A5}"/>
          </ac:spMkLst>
        </pc:spChg>
        <pc:spChg chg="mod">
          <ac:chgData name="Meyer Raphael (PAR-ES)" userId="79615dfe-ed48-4e74-a40f-4f7b034c1c27" providerId="ADAL" clId="{89FC39B2-103A-4EEF-895E-3C08461244ED}" dt="2021-10-01T08:41:16.302" v="10" actId="1038"/>
          <ac:spMkLst>
            <pc:docMk/>
            <pc:sldMk cId="1495152177" sldId="298"/>
            <ac:spMk id="13" creationId="{93412675-62AA-41D8-997C-4E877ED953A8}"/>
          </ac:spMkLst>
        </pc:spChg>
        <pc:cxnChg chg="mod">
          <ac:chgData name="Meyer Raphael (PAR-ES)" userId="79615dfe-ed48-4e74-a40f-4f7b034c1c27" providerId="ADAL" clId="{89FC39B2-103A-4EEF-895E-3C08461244ED}" dt="2021-10-01T08:41:16.302" v="10" actId="1038"/>
          <ac:cxnSpMkLst>
            <pc:docMk/>
            <pc:sldMk cId="1495152177" sldId="298"/>
            <ac:cxnSpMk id="8" creationId="{6F3EB9D3-E612-42D9-859B-1905BD876C26}"/>
          </ac:cxnSpMkLst>
        </pc:cxnChg>
      </pc:sldChg>
      <pc:sldChg chg="modSp mod">
        <pc:chgData name="Meyer Raphael (PAR-ES)" userId="79615dfe-ed48-4e74-a40f-4f7b034c1c27" providerId="ADAL" clId="{89FC39B2-103A-4EEF-895E-3C08461244ED}" dt="2021-10-01T08:41:35.721" v="21" actId="1037"/>
        <pc:sldMkLst>
          <pc:docMk/>
          <pc:sldMk cId="3590012689" sldId="365"/>
        </pc:sldMkLst>
        <pc:spChg chg="mod">
          <ac:chgData name="Meyer Raphael (PAR-ES)" userId="79615dfe-ed48-4e74-a40f-4f7b034c1c27" providerId="ADAL" clId="{89FC39B2-103A-4EEF-895E-3C08461244ED}" dt="2021-10-01T08:41:35.721" v="21" actId="1037"/>
          <ac:spMkLst>
            <pc:docMk/>
            <pc:sldMk cId="3590012689" sldId="365"/>
            <ac:spMk id="12" creationId="{970D2C07-63A2-4265-B006-56F685FE80A5}"/>
          </ac:spMkLst>
        </pc:spChg>
        <pc:spChg chg="mod">
          <ac:chgData name="Meyer Raphael (PAR-ES)" userId="79615dfe-ed48-4e74-a40f-4f7b034c1c27" providerId="ADAL" clId="{89FC39B2-103A-4EEF-895E-3C08461244ED}" dt="2021-10-01T08:41:35.721" v="21" actId="1037"/>
          <ac:spMkLst>
            <pc:docMk/>
            <pc:sldMk cId="3590012689" sldId="365"/>
            <ac:spMk id="13" creationId="{93412675-62AA-41D8-997C-4E877ED953A8}"/>
          </ac:spMkLst>
        </pc:spChg>
        <pc:cxnChg chg="mod">
          <ac:chgData name="Meyer Raphael (PAR-ES)" userId="79615dfe-ed48-4e74-a40f-4f7b034c1c27" providerId="ADAL" clId="{89FC39B2-103A-4EEF-895E-3C08461244ED}" dt="2021-10-01T08:41:35.721" v="21" actId="1037"/>
          <ac:cxnSpMkLst>
            <pc:docMk/>
            <pc:sldMk cId="3590012689" sldId="365"/>
            <ac:cxnSpMk id="8" creationId="{6F3EB9D3-E612-42D9-859B-1905BD876C26}"/>
          </ac:cxnSpMkLst>
        </pc:cxnChg>
      </pc:sldChg>
      <pc:sldChg chg="modSp mod">
        <pc:chgData name="Meyer Raphael (PAR-ES)" userId="79615dfe-ed48-4e74-a40f-4f7b034c1c27" providerId="ADAL" clId="{89FC39B2-103A-4EEF-895E-3C08461244ED}" dt="2021-10-01T08:41:50.683" v="29" actId="1037"/>
        <pc:sldMkLst>
          <pc:docMk/>
          <pc:sldMk cId="689864941" sldId="366"/>
        </pc:sldMkLst>
        <pc:spChg chg="mod">
          <ac:chgData name="Meyer Raphael (PAR-ES)" userId="79615dfe-ed48-4e74-a40f-4f7b034c1c27" providerId="ADAL" clId="{89FC39B2-103A-4EEF-895E-3C08461244ED}" dt="2021-10-01T08:41:50.683" v="29" actId="1037"/>
          <ac:spMkLst>
            <pc:docMk/>
            <pc:sldMk cId="689864941" sldId="366"/>
            <ac:spMk id="12" creationId="{970D2C07-63A2-4265-B006-56F685FE80A5}"/>
          </ac:spMkLst>
        </pc:spChg>
        <pc:spChg chg="mod">
          <ac:chgData name="Meyer Raphael (PAR-ES)" userId="79615dfe-ed48-4e74-a40f-4f7b034c1c27" providerId="ADAL" clId="{89FC39B2-103A-4EEF-895E-3C08461244ED}" dt="2021-10-01T08:41:50.683" v="29" actId="1037"/>
          <ac:spMkLst>
            <pc:docMk/>
            <pc:sldMk cId="689864941" sldId="366"/>
            <ac:spMk id="13" creationId="{93412675-62AA-41D8-997C-4E877ED953A8}"/>
          </ac:spMkLst>
        </pc:spChg>
        <pc:cxnChg chg="mod">
          <ac:chgData name="Meyer Raphael (PAR-ES)" userId="79615dfe-ed48-4e74-a40f-4f7b034c1c27" providerId="ADAL" clId="{89FC39B2-103A-4EEF-895E-3C08461244ED}" dt="2021-10-01T08:41:50.683" v="29" actId="1037"/>
          <ac:cxnSpMkLst>
            <pc:docMk/>
            <pc:sldMk cId="689864941" sldId="366"/>
            <ac:cxnSpMk id="8" creationId="{6F3EB9D3-E612-42D9-859B-1905BD876C26}"/>
          </ac:cxnSpMkLst>
        </pc:cxnChg>
      </pc:sldChg>
    </pc:docChg>
  </pc:docChgLst>
  <pc:docChgLst>
    <pc:chgData name="Weigel Stefan (KOM-PGA-VSF)" userId="fd3b2067-2981-4ad8-bf3a-d2e1004e4fa8" providerId="ADAL" clId="{EDEF8CE5-AEB3-4B6F-9D97-5FC90FB664AC}"/>
    <pc:docChg chg="modSld">
      <pc:chgData name="Weigel Stefan (KOM-PGA-VSF)" userId="fd3b2067-2981-4ad8-bf3a-d2e1004e4fa8" providerId="ADAL" clId="{EDEF8CE5-AEB3-4B6F-9D97-5FC90FB664AC}" dt="2020-12-23T10:57:56.671" v="137" actId="1038"/>
      <pc:docMkLst>
        <pc:docMk/>
      </pc:docMkLst>
      <pc:sldChg chg="modSp mod">
        <pc:chgData name="Weigel Stefan (KOM-PGA-VSF)" userId="fd3b2067-2981-4ad8-bf3a-d2e1004e4fa8" providerId="ADAL" clId="{EDEF8CE5-AEB3-4B6F-9D97-5FC90FB664AC}" dt="2020-12-23T10:52:55.375" v="52" actId="1038"/>
        <pc:sldMkLst>
          <pc:docMk/>
          <pc:sldMk cId="1667945532" sldId="306"/>
        </pc:sldMkLst>
        <pc:spChg chg="mod">
          <ac:chgData name="Weigel Stefan (KOM-PGA-VSF)" userId="fd3b2067-2981-4ad8-bf3a-d2e1004e4fa8" providerId="ADAL" clId="{EDEF8CE5-AEB3-4B6F-9D97-5FC90FB664AC}" dt="2020-12-23T10:47:01.964" v="12" actId="20577"/>
          <ac:spMkLst>
            <pc:docMk/>
            <pc:sldMk cId="1667945532" sldId="306"/>
            <ac:spMk id="8" creationId="{5857C2A1-2CB8-4D4A-AEFD-E809BF73D04F}"/>
          </ac:spMkLst>
        </pc:spChg>
        <pc:spChg chg="mod">
          <ac:chgData name="Weigel Stefan (KOM-PGA-VSF)" userId="fd3b2067-2981-4ad8-bf3a-d2e1004e4fa8" providerId="ADAL" clId="{EDEF8CE5-AEB3-4B6F-9D97-5FC90FB664AC}" dt="2020-12-23T10:47:39.656" v="20" actId="20577"/>
          <ac:spMkLst>
            <pc:docMk/>
            <pc:sldMk cId="1667945532" sldId="306"/>
            <ac:spMk id="27" creationId="{46A6B042-39EE-4A58-BBAA-13D52264B660}"/>
          </ac:spMkLst>
        </pc:spChg>
        <pc:spChg chg="mod">
          <ac:chgData name="Weigel Stefan (KOM-PGA-VSF)" userId="fd3b2067-2981-4ad8-bf3a-d2e1004e4fa8" providerId="ADAL" clId="{EDEF8CE5-AEB3-4B6F-9D97-5FC90FB664AC}" dt="2020-12-23T10:48:35.169" v="24" actId="1038"/>
          <ac:spMkLst>
            <pc:docMk/>
            <pc:sldMk cId="1667945532" sldId="306"/>
            <ac:spMk id="28" creationId="{4492A3CD-6943-423D-BFEC-8129889E8B6F}"/>
          </ac:spMkLst>
        </pc:spChg>
        <pc:spChg chg="mod">
          <ac:chgData name="Weigel Stefan (KOM-PGA-VSF)" userId="fd3b2067-2981-4ad8-bf3a-d2e1004e4fa8" providerId="ADAL" clId="{EDEF8CE5-AEB3-4B6F-9D97-5FC90FB664AC}" dt="2020-12-23T10:51:32.168" v="38" actId="20577"/>
          <ac:spMkLst>
            <pc:docMk/>
            <pc:sldMk cId="1667945532" sldId="306"/>
            <ac:spMk id="31" creationId="{7491A47D-CAD4-478D-8F3A-296FFCB799F9}"/>
          </ac:spMkLst>
        </pc:spChg>
        <pc:spChg chg="mod">
          <ac:chgData name="Weigel Stefan (KOM-PGA-VSF)" userId="fd3b2067-2981-4ad8-bf3a-d2e1004e4fa8" providerId="ADAL" clId="{EDEF8CE5-AEB3-4B6F-9D97-5FC90FB664AC}" dt="2020-12-23T10:46:52.113" v="10" actId="1038"/>
          <ac:spMkLst>
            <pc:docMk/>
            <pc:sldMk cId="1667945532" sldId="306"/>
            <ac:spMk id="32" creationId="{E65DDA4F-7190-4D5B-B875-6818D18C9F6E}"/>
          </ac:spMkLst>
        </pc:spChg>
        <pc:cxnChg chg="mod">
          <ac:chgData name="Weigel Stefan (KOM-PGA-VSF)" userId="fd3b2067-2981-4ad8-bf3a-d2e1004e4fa8" providerId="ADAL" clId="{EDEF8CE5-AEB3-4B6F-9D97-5FC90FB664AC}" dt="2020-12-23T10:52:55.375" v="52" actId="1038"/>
          <ac:cxnSpMkLst>
            <pc:docMk/>
            <pc:sldMk cId="1667945532" sldId="306"/>
            <ac:cxnSpMk id="20" creationId="{07FCC63F-5E2F-43DF-84ED-5FFEC92A0042}"/>
          </ac:cxnSpMkLst>
        </pc:cxnChg>
      </pc:sldChg>
      <pc:sldChg chg="modSp mod">
        <pc:chgData name="Weigel Stefan (KOM-PGA-VSF)" userId="fd3b2067-2981-4ad8-bf3a-d2e1004e4fa8" providerId="ADAL" clId="{EDEF8CE5-AEB3-4B6F-9D97-5FC90FB664AC}" dt="2020-12-23T10:55:53.829" v="92" actId="20577"/>
        <pc:sldMkLst>
          <pc:docMk/>
          <pc:sldMk cId="2802950074" sldId="315"/>
        </pc:sldMkLst>
        <pc:spChg chg="mod">
          <ac:chgData name="Weigel Stefan (KOM-PGA-VSF)" userId="fd3b2067-2981-4ad8-bf3a-d2e1004e4fa8" providerId="ADAL" clId="{EDEF8CE5-AEB3-4B6F-9D97-5FC90FB664AC}" dt="2020-12-23T10:54:41.146" v="80" actId="20577"/>
          <ac:spMkLst>
            <pc:docMk/>
            <pc:sldMk cId="2802950074" sldId="315"/>
            <ac:spMk id="27" creationId="{46A6B042-39EE-4A58-BBAA-13D52264B660}"/>
          </ac:spMkLst>
        </pc:spChg>
        <pc:spChg chg="mod">
          <ac:chgData name="Weigel Stefan (KOM-PGA-VSF)" userId="fd3b2067-2981-4ad8-bf3a-d2e1004e4fa8" providerId="ADAL" clId="{EDEF8CE5-AEB3-4B6F-9D97-5FC90FB664AC}" dt="2020-12-23T10:55:35.200" v="86" actId="1038"/>
          <ac:spMkLst>
            <pc:docMk/>
            <pc:sldMk cId="2802950074" sldId="315"/>
            <ac:spMk id="28" creationId="{4492A3CD-6943-423D-BFEC-8129889E8B6F}"/>
          </ac:spMkLst>
        </pc:spChg>
        <pc:spChg chg="mod">
          <ac:chgData name="Weigel Stefan (KOM-PGA-VSF)" userId="fd3b2067-2981-4ad8-bf3a-d2e1004e4fa8" providerId="ADAL" clId="{EDEF8CE5-AEB3-4B6F-9D97-5FC90FB664AC}" dt="2020-12-23T10:55:53.829" v="92" actId="20577"/>
          <ac:spMkLst>
            <pc:docMk/>
            <pc:sldMk cId="2802950074" sldId="315"/>
            <ac:spMk id="31" creationId="{7491A47D-CAD4-478D-8F3A-296FFCB799F9}"/>
          </ac:spMkLst>
        </pc:spChg>
        <pc:spChg chg="mod">
          <ac:chgData name="Weigel Stefan (KOM-PGA-VSF)" userId="fd3b2067-2981-4ad8-bf3a-d2e1004e4fa8" providerId="ADAL" clId="{EDEF8CE5-AEB3-4B6F-9D97-5FC90FB664AC}" dt="2020-12-23T10:54:07.178" v="67" actId="1038"/>
          <ac:spMkLst>
            <pc:docMk/>
            <pc:sldMk cId="2802950074" sldId="315"/>
            <ac:spMk id="32" creationId="{E65DDA4F-7190-4D5B-B875-6818D18C9F6E}"/>
          </ac:spMkLst>
        </pc:spChg>
        <pc:spChg chg="mod">
          <ac:chgData name="Weigel Stefan (KOM-PGA-VSF)" userId="fd3b2067-2981-4ad8-bf3a-d2e1004e4fa8" providerId="ADAL" clId="{EDEF8CE5-AEB3-4B6F-9D97-5FC90FB664AC}" dt="2020-12-23T10:53:11.504" v="54" actId="20577"/>
          <ac:spMkLst>
            <pc:docMk/>
            <pc:sldMk cId="2802950074" sldId="315"/>
            <ac:spMk id="42" creationId="{A033A810-BFFD-406C-88F8-2749262D34FE}"/>
          </ac:spMkLst>
        </pc:spChg>
        <pc:cxnChg chg="mod">
          <ac:chgData name="Weigel Stefan (KOM-PGA-VSF)" userId="fd3b2067-2981-4ad8-bf3a-d2e1004e4fa8" providerId="ADAL" clId="{EDEF8CE5-AEB3-4B6F-9D97-5FC90FB664AC}" dt="2020-12-23T10:54:17.729" v="72" actId="1037"/>
          <ac:cxnSpMkLst>
            <pc:docMk/>
            <pc:sldMk cId="2802950074" sldId="315"/>
            <ac:cxnSpMk id="41" creationId="{F0EC26E9-4A45-4EBB-BA47-C888CB01B42C}"/>
          </ac:cxnSpMkLst>
        </pc:cxnChg>
      </pc:sldChg>
      <pc:sldChg chg="modSp mod">
        <pc:chgData name="Weigel Stefan (KOM-PGA-VSF)" userId="fd3b2067-2981-4ad8-bf3a-d2e1004e4fa8" providerId="ADAL" clId="{EDEF8CE5-AEB3-4B6F-9D97-5FC90FB664AC}" dt="2020-12-23T10:57:56.671" v="137" actId="1038"/>
        <pc:sldMkLst>
          <pc:docMk/>
          <pc:sldMk cId="3685268070" sldId="316"/>
        </pc:sldMkLst>
        <pc:spChg chg="mod">
          <ac:chgData name="Weigel Stefan (KOM-PGA-VSF)" userId="fd3b2067-2981-4ad8-bf3a-d2e1004e4fa8" providerId="ADAL" clId="{EDEF8CE5-AEB3-4B6F-9D97-5FC90FB664AC}" dt="2020-12-23T10:57:08.004" v="125" actId="20577"/>
          <ac:spMkLst>
            <pc:docMk/>
            <pc:sldMk cId="3685268070" sldId="316"/>
            <ac:spMk id="27" creationId="{46A6B042-39EE-4A58-BBAA-13D52264B660}"/>
          </ac:spMkLst>
        </pc:spChg>
        <pc:spChg chg="mod">
          <ac:chgData name="Weigel Stefan (KOM-PGA-VSF)" userId="fd3b2067-2981-4ad8-bf3a-d2e1004e4fa8" providerId="ADAL" clId="{EDEF8CE5-AEB3-4B6F-9D97-5FC90FB664AC}" dt="2020-12-23T10:57:56.671" v="137" actId="1038"/>
          <ac:spMkLst>
            <pc:docMk/>
            <pc:sldMk cId="3685268070" sldId="316"/>
            <ac:spMk id="28" creationId="{4492A3CD-6943-423D-BFEC-8129889E8B6F}"/>
          </ac:spMkLst>
        </pc:spChg>
        <pc:spChg chg="mod">
          <ac:chgData name="Weigel Stefan (KOM-PGA-VSF)" userId="fd3b2067-2981-4ad8-bf3a-d2e1004e4fa8" providerId="ADAL" clId="{EDEF8CE5-AEB3-4B6F-9D97-5FC90FB664AC}" dt="2020-12-23T10:57:20.598" v="131" actId="20577"/>
          <ac:spMkLst>
            <pc:docMk/>
            <pc:sldMk cId="3685268070" sldId="316"/>
            <ac:spMk id="31" creationId="{7491A47D-CAD4-478D-8F3A-296FFCB799F9}"/>
          </ac:spMkLst>
        </pc:spChg>
        <pc:spChg chg="mod">
          <ac:chgData name="Weigel Stefan (KOM-PGA-VSF)" userId="fd3b2067-2981-4ad8-bf3a-d2e1004e4fa8" providerId="ADAL" clId="{EDEF8CE5-AEB3-4B6F-9D97-5FC90FB664AC}" dt="2020-12-23T10:56:56.716" v="119" actId="1038"/>
          <ac:spMkLst>
            <pc:docMk/>
            <pc:sldMk cId="3685268070" sldId="316"/>
            <ac:spMk id="32" creationId="{E65DDA4F-7190-4D5B-B875-6818D18C9F6E}"/>
          </ac:spMkLst>
        </pc:spChg>
        <pc:spChg chg="mod">
          <ac:chgData name="Weigel Stefan (KOM-PGA-VSF)" userId="fd3b2067-2981-4ad8-bf3a-d2e1004e4fa8" providerId="ADAL" clId="{EDEF8CE5-AEB3-4B6F-9D97-5FC90FB664AC}" dt="2020-12-23T10:56:04.548" v="94" actId="20577"/>
          <ac:spMkLst>
            <pc:docMk/>
            <pc:sldMk cId="3685268070" sldId="316"/>
            <ac:spMk id="41" creationId="{DD1D7DED-B5E6-4EA2-9113-4A179D74E57F}"/>
          </ac:spMkLst>
        </pc:spChg>
        <pc:cxnChg chg="mod">
          <ac:chgData name="Weigel Stefan (KOM-PGA-VSF)" userId="fd3b2067-2981-4ad8-bf3a-d2e1004e4fa8" providerId="ADAL" clId="{EDEF8CE5-AEB3-4B6F-9D97-5FC90FB664AC}" dt="2020-12-23T10:56:09.872" v="100" actId="1037"/>
          <ac:cxnSpMkLst>
            <pc:docMk/>
            <pc:sldMk cId="3685268070" sldId="316"/>
            <ac:cxnSpMk id="20" creationId="{07FCC63F-5E2F-43DF-84ED-5FFEC92A0042}"/>
          </ac:cxnSpMkLst>
        </pc:cxnChg>
      </pc:sldChg>
    </pc:docChg>
  </pc:docChgLst>
  <pc:docChgLst>
    <pc:chgData name="Zeller Andrea (KOM-MF-CID)" userId="5e8ae8d3-c7b8-435e-9429-37345fcff44c" providerId="ADAL" clId="{29954E35-41BF-4A3F-9459-33302CDBE46E}"/>
    <pc:docChg chg="undo custSel modSld">
      <pc:chgData name="Zeller Andrea (KOM-MF-CID)" userId="5e8ae8d3-c7b8-435e-9429-37345fcff44c" providerId="ADAL" clId="{29954E35-41BF-4A3F-9459-33302CDBE46E}" dt="2021-11-03T12:48:45.404" v="77" actId="478"/>
      <pc:docMkLst>
        <pc:docMk/>
      </pc:docMkLst>
      <pc:sldChg chg="addSp delSp modSp mod">
        <pc:chgData name="Zeller Andrea (KOM-MF-CID)" userId="5e8ae8d3-c7b8-435e-9429-37345fcff44c" providerId="ADAL" clId="{29954E35-41BF-4A3F-9459-33302CDBE46E}" dt="2021-11-03T12:48:45.404" v="77" actId="478"/>
        <pc:sldMkLst>
          <pc:docMk/>
          <pc:sldMk cId="3808035539" sldId="270"/>
        </pc:sldMkLst>
        <pc:spChg chg="mod">
          <ac:chgData name="Zeller Andrea (KOM-MF-CID)" userId="5e8ae8d3-c7b8-435e-9429-37345fcff44c" providerId="ADAL" clId="{29954E35-41BF-4A3F-9459-33302CDBE46E}" dt="2021-11-03T12:44:44.181" v="10" actId="14100"/>
          <ac:spMkLst>
            <pc:docMk/>
            <pc:sldMk cId="3808035539" sldId="270"/>
            <ac:spMk id="2" creationId="{00000000-0000-0000-0000-000000000000}"/>
          </ac:spMkLst>
        </pc:spChg>
        <pc:spChg chg="del mod">
          <ac:chgData name="Zeller Andrea (KOM-MF-CID)" userId="5e8ae8d3-c7b8-435e-9429-37345fcff44c" providerId="ADAL" clId="{29954E35-41BF-4A3F-9459-33302CDBE46E}" dt="2021-11-03T12:48:09.117" v="64" actId="478"/>
          <ac:spMkLst>
            <pc:docMk/>
            <pc:sldMk cId="3808035539" sldId="270"/>
            <ac:spMk id="3" creationId="{00000000-0000-0000-0000-000000000000}"/>
          </ac:spMkLst>
        </pc:spChg>
        <pc:spChg chg="del mod">
          <ac:chgData name="Zeller Andrea (KOM-MF-CID)" userId="5e8ae8d3-c7b8-435e-9429-37345fcff44c" providerId="ADAL" clId="{29954E35-41BF-4A3F-9459-33302CDBE46E}" dt="2021-11-03T12:46:00.895" v="42" actId="478"/>
          <ac:spMkLst>
            <pc:docMk/>
            <pc:sldMk cId="3808035539" sldId="270"/>
            <ac:spMk id="5" creationId="{00000000-0000-0000-0000-000000000000}"/>
          </ac:spMkLst>
        </pc:spChg>
        <pc:spChg chg="add mod">
          <ac:chgData name="Zeller Andrea (KOM-MF-CID)" userId="5e8ae8d3-c7b8-435e-9429-37345fcff44c" providerId="ADAL" clId="{29954E35-41BF-4A3F-9459-33302CDBE46E}" dt="2021-11-03T12:44:32.958" v="9"/>
          <ac:spMkLst>
            <pc:docMk/>
            <pc:sldMk cId="3808035539" sldId="270"/>
            <ac:spMk id="6" creationId="{0148E78D-7FBB-46BC-A7E3-0EFE6D9E4679}"/>
          </ac:spMkLst>
        </pc:spChg>
        <pc:spChg chg="add del">
          <ac:chgData name="Zeller Andrea (KOM-MF-CID)" userId="5e8ae8d3-c7b8-435e-9429-37345fcff44c" providerId="ADAL" clId="{29954E35-41BF-4A3F-9459-33302CDBE46E}" dt="2021-11-03T12:45:27.130" v="12" actId="22"/>
          <ac:spMkLst>
            <pc:docMk/>
            <pc:sldMk cId="3808035539" sldId="270"/>
            <ac:spMk id="8" creationId="{C5394BCF-D835-46E6-A721-1DD2A68F8063}"/>
          </ac:spMkLst>
        </pc:spChg>
        <pc:spChg chg="add mod">
          <ac:chgData name="Zeller Andrea (KOM-MF-CID)" userId="5e8ae8d3-c7b8-435e-9429-37345fcff44c" providerId="ADAL" clId="{29954E35-41BF-4A3F-9459-33302CDBE46E}" dt="2021-11-03T12:48:42.093" v="76" actId="1037"/>
          <ac:spMkLst>
            <pc:docMk/>
            <pc:sldMk cId="3808035539" sldId="270"/>
            <ac:spMk id="10" creationId="{41B9B9AB-4B12-4760-AF37-4FABDDFAE68B}"/>
          </ac:spMkLst>
        </pc:spChg>
        <pc:graphicFrameChg chg="mod">
          <ac:chgData name="Zeller Andrea (KOM-MF-CID)" userId="5e8ae8d3-c7b8-435e-9429-37345fcff44c" providerId="ADAL" clId="{29954E35-41BF-4A3F-9459-33302CDBE46E}" dt="2021-11-03T12:43:16.882" v="4" actId="255"/>
          <ac:graphicFrameMkLst>
            <pc:docMk/>
            <pc:sldMk cId="3808035539" sldId="270"/>
            <ac:graphicFrameMk id="9" creationId="{00000000-0000-0000-0000-000000000000}"/>
          </ac:graphicFrameMkLst>
        </pc:graphicFrameChg>
        <pc:cxnChg chg="add del">
          <ac:chgData name="Zeller Andrea (KOM-MF-CID)" userId="5e8ae8d3-c7b8-435e-9429-37345fcff44c" providerId="ADAL" clId="{29954E35-41BF-4A3F-9459-33302CDBE46E}" dt="2021-11-03T12:48:45.404" v="77" actId="478"/>
          <ac:cxnSpMkLst>
            <pc:docMk/>
            <pc:sldMk cId="3808035539" sldId="270"/>
            <ac:cxnSpMk id="11" creationId="{BF63490B-C87B-4086-8901-5BDB02519BC7}"/>
          </ac:cxnSpMkLst>
        </pc:cxnChg>
      </pc:sldChg>
    </pc:docChg>
  </pc:docChgLst>
  <pc:docChgLst>
    <pc:chgData name="Meyer Raphael (PAR-ES)" userId="79615dfe-ed48-4e74-a40f-4f7b034c1c27" providerId="ADAL" clId="{10F694D6-807D-4949-9503-515E89DD48AB}"/>
    <pc:docChg chg="delSld">
      <pc:chgData name="Meyer Raphael (PAR-ES)" userId="79615dfe-ed48-4e74-a40f-4f7b034c1c27" providerId="ADAL" clId="{10F694D6-807D-4949-9503-515E89DD48AB}" dt="2022-03-09T15:20:13.407" v="0" actId="47"/>
      <pc:docMkLst>
        <pc:docMk/>
      </pc:docMkLst>
      <pc:sldChg chg="del">
        <pc:chgData name="Meyer Raphael (PAR-ES)" userId="79615dfe-ed48-4e74-a40f-4f7b034c1c27" providerId="ADAL" clId="{10F694D6-807D-4949-9503-515E89DD48AB}" dt="2022-03-09T15:20:13.407" v="0" actId="47"/>
        <pc:sldMkLst>
          <pc:docMk/>
          <pc:sldMk cId="1214120989" sldId="414"/>
        </pc:sldMkLst>
      </pc:sldChg>
      <pc:sldChg chg="del">
        <pc:chgData name="Meyer Raphael (PAR-ES)" userId="79615dfe-ed48-4e74-a40f-4f7b034c1c27" providerId="ADAL" clId="{10F694D6-807D-4949-9503-515E89DD48AB}" dt="2022-03-09T15:20:13.407" v="0" actId="47"/>
        <pc:sldMkLst>
          <pc:docMk/>
          <pc:sldMk cId="3878003729" sldId="415"/>
        </pc:sldMkLst>
      </pc:sldChg>
      <pc:sldChg chg="del">
        <pc:chgData name="Meyer Raphael (PAR-ES)" userId="79615dfe-ed48-4e74-a40f-4f7b034c1c27" providerId="ADAL" clId="{10F694D6-807D-4949-9503-515E89DD48AB}" dt="2022-03-09T15:20:13.407" v="0" actId="47"/>
        <pc:sldMkLst>
          <pc:docMk/>
          <pc:sldMk cId="2150380132" sldId="416"/>
        </pc:sldMkLst>
      </pc:sldChg>
    </pc:docChg>
  </pc:docChgLst>
  <pc:docChgLst>
    <pc:chgData name="Meyer Raphael (PAR-ES)" userId="79615dfe-ed48-4e74-a40f-4f7b034c1c27" providerId="ADAL" clId="{470C434F-95E8-436B-A1F0-5B170DA19DE6}"/>
    <pc:docChg chg="undo custSel addSld modSld">
      <pc:chgData name="Meyer Raphael (PAR-ES)" userId="79615dfe-ed48-4e74-a40f-4f7b034c1c27" providerId="ADAL" clId="{470C434F-95E8-436B-A1F0-5B170DA19DE6}" dt="2021-11-08T09:49:12.579" v="193" actId="27918"/>
      <pc:docMkLst>
        <pc:docMk/>
      </pc:docMkLst>
      <pc:sldChg chg="modSp mod">
        <pc:chgData name="Meyer Raphael (PAR-ES)" userId="79615dfe-ed48-4e74-a40f-4f7b034c1c27" providerId="ADAL" clId="{470C434F-95E8-436B-A1F0-5B170DA19DE6}" dt="2021-11-08T09:39:09.766" v="188" actId="1036"/>
        <pc:sldMkLst>
          <pc:docMk/>
          <pc:sldMk cId="3808035539" sldId="270"/>
        </pc:sldMkLst>
        <pc:spChg chg="mod">
          <ac:chgData name="Meyer Raphael (PAR-ES)" userId="79615dfe-ed48-4e74-a40f-4f7b034c1c27" providerId="ADAL" clId="{470C434F-95E8-436B-A1F0-5B170DA19DE6}" dt="2021-11-08T09:35:57.599" v="45" actId="20577"/>
          <ac:spMkLst>
            <pc:docMk/>
            <pc:sldMk cId="3808035539" sldId="270"/>
            <ac:spMk id="2" creationId="{00000000-0000-0000-0000-000000000000}"/>
          </ac:spMkLst>
        </pc:spChg>
        <pc:spChg chg="mod">
          <ac:chgData name="Meyer Raphael (PAR-ES)" userId="79615dfe-ed48-4e74-a40f-4f7b034c1c27" providerId="ADAL" clId="{470C434F-95E8-436B-A1F0-5B170DA19DE6}" dt="2021-11-08T09:37:06.055" v="129" actId="20577"/>
          <ac:spMkLst>
            <pc:docMk/>
            <pc:sldMk cId="3808035539" sldId="270"/>
            <ac:spMk id="6" creationId="{0148E78D-7FBB-46BC-A7E3-0EFE6D9E4679}"/>
          </ac:spMkLst>
        </pc:spChg>
        <pc:spChg chg="mod">
          <ac:chgData name="Meyer Raphael (PAR-ES)" userId="79615dfe-ed48-4e74-a40f-4f7b034c1c27" providerId="ADAL" clId="{470C434F-95E8-436B-A1F0-5B170DA19DE6}" dt="2021-11-08T09:39:09.766" v="188" actId="1036"/>
          <ac:spMkLst>
            <pc:docMk/>
            <pc:sldMk cId="3808035539" sldId="270"/>
            <ac:spMk id="10" creationId="{41B9B9AB-4B12-4760-AF37-4FABDDFAE68B}"/>
          </ac:spMkLst>
        </pc:spChg>
        <pc:graphicFrameChg chg="mod">
          <ac:chgData name="Meyer Raphael (PAR-ES)" userId="79615dfe-ed48-4e74-a40f-4f7b034c1c27" providerId="ADAL" clId="{470C434F-95E8-436B-A1F0-5B170DA19DE6}" dt="2021-11-08T09:35:17.046" v="23"/>
          <ac:graphicFrameMkLst>
            <pc:docMk/>
            <pc:sldMk cId="3808035539" sldId="270"/>
            <ac:graphicFrameMk id="9" creationId="{00000000-0000-0000-0000-000000000000}"/>
          </ac:graphicFrameMkLst>
        </pc:graphicFrameChg>
      </pc:sldChg>
      <pc:sldChg chg="add mod">
        <pc:chgData name="Meyer Raphael (PAR-ES)" userId="79615dfe-ed48-4e74-a40f-4f7b034c1c27" providerId="ADAL" clId="{470C434F-95E8-436B-A1F0-5B170DA19DE6}" dt="2021-11-08T09:49:12.579" v="193" actId="27918"/>
        <pc:sldMkLst>
          <pc:docMk/>
          <pc:sldMk cId="2540367841" sldId="274"/>
        </pc:sldMkLst>
      </pc:sldChg>
    </pc:docChg>
  </pc:docChgLst>
  <pc:docChgLst>
    <pc:chgData name="Meyer Raphael (PAR-ES)" userId="79615dfe-ed48-4e74-a40f-4f7b034c1c27" providerId="ADAL" clId="{3156068F-21D5-4E72-87AA-951E564FE16F}"/>
    <pc:docChg chg="modSld">
      <pc:chgData name="Meyer Raphael (PAR-ES)" userId="79615dfe-ed48-4e74-a40f-4f7b034c1c27" providerId="ADAL" clId="{3156068F-21D5-4E72-87AA-951E564FE16F}" dt="2021-08-20T12:08:49.615" v="92" actId="1037"/>
      <pc:docMkLst>
        <pc:docMk/>
      </pc:docMkLst>
      <pc:sldChg chg="modSp mod">
        <pc:chgData name="Meyer Raphael (PAR-ES)" userId="79615dfe-ed48-4e74-a40f-4f7b034c1c27" providerId="ADAL" clId="{3156068F-21D5-4E72-87AA-951E564FE16F}" dt="2021-08-20T12:03:51.406" v="46" actId="1037"/>
        <pc:sldMkLst>
          <pc:docMk/>
          <pc:sldMk cId="1495152177" sldId="298"/>
        </pc:sldMkLst>
        <pc:spChg chg="mod">
          <ac:chgData name="Meyer Raphael (PAR-ES)" userId="79615dfe-ed48-4e74-a40f-4f7b034c1c27" providerId="ADAL" clId="{3156068F-21D5-4E72-87AA-951E564FE16F}" dt="2021-08-20T12:03:51.406" v="46" actId="1037"/>
          <ac:spMkLst>
            <pc:docMk/>
            <pc:sldMk cId="1495152177" sldId="298"/>
            <ac:spMk id="12" creationId="{970D2C07-63A2-4265-B006-56F685FE80A5}"/>
          </ac:spMkLst>
        </pc:spChg>
        <pc:spChg chg="mod">
          <ac:chgData name="Meyer Raphael (PAR-ES)" userId="79615dfe-ed48-4e74-a40f-4f7b034c1c27" providerId="ADAL" clId="{3156068F-21D5-4E72-87AA-951E564FE16F}" dt="2021-08-20T12:03:51.406" v="46" actId="1037"/>
          <ac:spMkLst>
            <pc:docMk/>
            <pc:sldMk cId="1495152177" sldId="298"/>
            <ac:spMk id="13" creationId="{93412675-62AA-41D8-997C-4E877ED953A8}"/>
          </ac:spMkLst>
        </pc:spChg>
        <pc:graphicFrameChg chg="modGraphic">
          <ac:chgData name="Meyer Raphael (PAR-ES)" userId="79615dfe-ed48-4e74-a40f-4f7b034c1c27" providerId="ADAL" clId="{3156068F-21D5-4E72-87AA-951E564FE16F}" dt="2021-08-20T11:59:44.757"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3156068F-21D5-4E72-87AA-951E564FE16F}" dt="2021-08-20T12:03:51.406" v="46" actId="1037"/>
          <ac:cxnSpMkLst>
            <pc:docMk/>
            <pc:sldMk cId="1495152177" sldId="298"/>
            <ac:cxnSpMk id="8" creationId="{6F3EB9D3-E612-42D9-859B-1905BD876C26}"/>
          </ac:cxnSpMkLst>
        </pc:cxnChg>
      </pc:sldChg>
      <pc:sldChg chg="modSp mod">
        <pc:chgData name="Meyer Raphael (PAR-ES)" userId="79615dfe-ed48-4e74-a40f-4f7b034c1c27" providerId="ADAL" clId="{3156068F-21D5-4E72-87AA-951E564FE16F}" dt="2021-08-20T12:06:55.416" v="72" actId="27918"/>
        <pc:sldMkLst>
          <pc:docMk/>
          <pc:sldMk cId="3590012689" sldId="365"/>
        </pc:sldMkLst>
        <pc:spChg chg="mod">
          <ac:chgData name="Meyer Raphael (PAR-ES)" userId="79615dfe-ed48-4e74-a40f-4f7b034c1c27" providerId="ADAL" clId="{3156068F-21D5-4E72-87AA-951E564FE16F}" dt="2021-08-20T12:06:01.587" v="70" actId="1038"/>
          <ac:spMkLst>
            <pc:docMk/>
            <pc:sldMk cId="3590012689" sldId="365"/>
            <ac:spMk id="12" creationId="{970D2C07-63A2-4265-B006-56F685FE80A5}"/>
          </ac:spMkLst>
        </pc:spChg>
        <pc:spChg chg="mod">
          <ac:chgData name="Meyer Raphael (PAR-ES)" userId="79615dfe-ed48-4e74-a40f-4f7b034c1c27" providerId="ADAL" clId="{3156068F-21D5-4E72-87AA-951E564FE16F}" dt="2021-08-20T12:06:01.587" v="70" actId="1038"/>
          <ac:spMkLst>
            <pc:docMk/>
            <pc:sldMk cId="3590012689" sldId="365"/>
            <ac:spMk id="13" creationId="{93412675-62AA-41D8-997C-4E877ED953A8}"/>
          </ac:spMkLst>
        </pc:spChg>
        <pc:graphicFrameChg chg="mod modGraphic">
          <ac:chgData name="Meyer Raphael (PAR-ES)" userId="79615dfe-ed48-4e74-a40f-4f7b034c1c27" providerId="ADAL" clId="{3156068F-21D5-4E72-87AA-951E564FE16F}" dt="2021-08-20T12:00:01.526" v="24"/>
          <ac:graphicFrameMkLst>
            <pc:docMk/>
            <pc:sldMk cId="3590012689" sldId="365"/>
            <ac:graphicFrameMk id="9" creationId="{E1369C63-C4A7-403B-A03F-B004599F910A}"/>
          </ac:graphicFrameMkLst>
        </pc:graphicFrameChg>
        <pc:cxnChg chg="mod">
          <ac:chgData name="Meyer Raphael (PAR-ES)" userId="79615dfe-ed48-4e74-a40f-4f7b034c1c27" providerId="ADAL" clId="{3156068F-21D5-4E72-87AA-951E564FE16F}" dt="2021-08-20T12:06:01.587" v="70" actId="1038"/>
          <ac:cxnSpMkLst>
            <pc:docMk/>
            <pc:sldMk cId="3590012689" sldId="365"/>
            <ac:cxnSpMk id="8" creationId="{6F3EB9D3-E612-42D9-859B-1905BD876C26}"/>
          </ac:cxnSpMkLst>
        </pc:cxnChg>
      </pc:sldChg>
      <pc:sldChg chg="modSp mod">
        <pc:chgData name="Meyer Raphael (PAR-ES)" userId="79615dfe-ed48-4e74-a40f-4f7b034c1c27" providerId="ADAL" clId="{3156068F-21D5-4E72-87AA-951E564FE16F}" dt="2021-08-20T12:08:49.615" v="92" actId="1037"/>
        <pc:sldMkLst>
          <pc:docMk/>
          <pc:sldMk cId="689864941" sldId="366"/>
        </pc:sldMkLst>
        <pc:spChg chg="mod">
          <ac:chgData name="Meyer Raphael (PAR-ES)" userId="79615dfe-ed48-4e74-a40f-4f7b034c1c27" providerId="ADAL" clId="{3156068F-21D5-4E72-87AA-951E564FE16F}" dt="2021-08-20T12:08:49.615" v="92" actId="1037"/>
          <ac:spMkLst>
            <pc:docMk/>
            <pc:sldMk cId="689864941" sldId="366"/>
            <ac:spMk id="12" creationId="{970D2C07-63A2-4265-B006-56F685FE80A5}"/>
          </ac:spMkLst>
        </pc:spChg>
        <pc:spChg chg="mod">
          <ac:chgData name="Meyer Raphael (PAR-ES)" userId="79615dfe-ed48-4e74-a40f-4f7b034c1c27" providerId="ADAL" clId="{3156068F-21D5-4E72-87AA-951E564FE16F}" dt="2021-08-20T12:08:49.615" v="92" actId="1037"/>
          <ac:spMkLst>
            <pc:docMk/>
            <pc:sldMk cId="689864941" sldId="366"/>
            <ac:spMk id="13" creationId="{93412675-62AA-41D8-997C-4E877ED953A8}"/>
          </ac:spMkLst>
        </pc:spChg>
        <pc:graphicFrameChg chg="mod modGraphic">
          <ac:chgData name="Meyer Raphael (PAR-ES)" userId="79615dfe-ed48-4e74-a40f-4f7b034c1c27" providerId="ADAL" clId="{3156068F-21D5-4E72-87AA-951E564FE16F}" dt="2021-08-20T12:00:06.295" v="25"/>
          <ac:graphicFrameMkLst>
            <pc:docMk/>
            <pc:sldMk cId="689864941" sldId="366"/>
            <ac:graphicFrameMk id="9" creationId="{E1369C63-C4A7-403B-A03F-B004599F910A}"/>
          </ac:graphicFrameMkLst>
        </pc:graphicFrameChg>
        <pc:cxnChg chg="mod">
          <ac:chgData name="Meyer Raphael (PAR-ES)" userId="79615dfe-ed48-4e74-a40f-4f7b034c1c27" providerId="ADAL" clId="{3156068F-21D5-4E72-87AA-951E564FE16F}" dt="2021-08-20T12:08:49.615" v="92" actId="1037"/>
          <ac:cxnSpMkLst>
            <pc:docMk/>
            <pc:sldMk cId="689864941" sldId="366"/>
            <ac:cxnSpMk id="8" creationId="{6F3EB9D3-E612-42D9-859B-1905BD876C26}"/>
          </ac:cxnSpMkLst>
        </pc:cxnChg>
      </pc:sldChg>
    </pc:docChg>
  </pc:docChgLst>
  <pc:docChgLst>
    <pc:chgData name="Meyer Raphael (PAR-ES)" userId="79615dfe-ed48-4e74-a40f-4f7b034c1c27" providerId="ADAL" clId="{73F4FE47-712E-4DC0-BDEC-155433499AFA}"/>
    <pc:docChg chg="modSld">
      <pc:chgData name="Meyer Raphael (PAR-ES)" userId="79615dfe-ed48-4e74-a40f-4f7b034c1c27" providerId="ADAL" clId="{73F4FE47-712E-4DC0-BDEC-155433499AFA}" dt="2021-10-20T12:32:04.938" v="7" actId="20577"/>
      <pc:docMkLst>
        <pc:docMk/>
      </pc:docMkLst>
      <pc:sldChg chg="addSp modSp mod">
        <pc:chgData name="Meyer Raphael (PAR-ES)" userId="79615dfe-ed48-4e74-a40f-4f7b034c1c27" providerId="ADAL" clId="{73F4FE47-712E-4DC0-BDEC-155433499AFA}" dt="2021-10-20T12:32:04.938" v="7" actId="20577"/>
        <pc:sldMkLst>
          <pc:docMk/>
          <pc:sldMk cId="3759573184" sldId="375"/>
        </pc:sldMkLst>
        <pc:graphicFrameChg chg="add mod modGraphic">
          <ac:chgData name="Meyer Raphael (PAR-ES)" userId="79615dfe-ed48-4e74-a40f-4f7b034c1c27" providerId="ADAL" clId="{73F4FE47-712E-4DC0-BDEC-155433499AFA}" dt="2021-10-20T12:32:04.938" v="7" actId="20577"/>
          <ac:graphicFrameMkLst>
            <pc:docMk/>
            <pc:sldMk cId="3759573184" sldId="375"/>
            <ac:graphicFrameMk id="11" creationId="{622F4C5D-EB92-4061-B40F-47BBCBF5D8BD}"/>
          </ac:graphicFrameMkLst>
        </pc:graphicFrameChg>
      </pc:sldChg>
      <pc:sldChg chg="mod">
        <pc:chgData name="Meyer Raphael (PAR-ES)" userId="79615dfe-ed48-4e74-a40f-4f7b034c1c27" providerId="ADAL" clId="{73F4FE47-712E-4DC0-BDEC-155433499AFA}" dt="2021-10-20T11:25:47.998" v="1" actId="27918"/>
        <pc:sldMkLst>
          <pc:docMk/>
          <pc:sldMk cId="1199121354" sldId="417"/>
        </pc:sldMkLst>
      </pc:sldChg>
    </pc:docChg>
  </pc:docChgLst>
  <pc:docChgLst>
    <pc:chgData name="Meyer Raphael (PAR-ES)" userId="79615dfe-ed48-4e74-a40f-4f7b034c1c27" providerId="ADAL" clId="{50B11D1E-3C98-42A5-AC2C-CB81D3349B72}"/>
    <pc:docChg chg="undo custSel modSld">
      <pc:chgData name="Meyer Raphael (PAR-ES)" userId="79615dfe-ed48-4e74-a40f-4f7b034c1c27" providerId="ADAL" clId="{50B11D1E-3C98-42A5-AC2C-CB81D3349B72}" dt="2021-05-25T14:17:56.453" v="188" actId="1037"/>
      <pc:docMkLst>
        <pc:docMk/>
      </pc:docMkLst>
      <pc:sldChg chg="addSp delSp modSp mod">
        <pc:chgData name="Meyer Raphael (PAR-ES)" userId="79615dfe-ed48-4e74-a40f-4f7b034c1c27" providerId="ADAL" clId="{50B11D1E-3C98-42A5-AC2C-CB81D3349B72}" dt="2021-05-25T14:17:56.453" v="188" actId="1037"/>
        <pc:sldMkLst>
          <pc:docMk/>
          <pc:sldMk cId="1495152177" sldId="298"/>
        </pc:sldMkLst>
        <pc:spChg chg="mod">
          <ac:chgData name="Meyer Raphael (PAR-ES)" userId="79615dfe-ed48-4e74-a40f-4f7b034c1c27" providerId="ADAL" clId="{50B11D1E-3C98-42A5-AC2C-CB81D3349B72}" dt="2021-05-25T14:07:58.277" v="45" actId="1076"/>
          <ac:spMkLst>
            <pc:docMk/>
            <pc:sldMk cId="1495152177" sldId="298"/>
            <ac:spMk id="6" creationId="{0EEE4EA3-E16E-424B-97F9-53A8F5D585AE}"/>
          </ac:spMkLst>
        </pc:spChg>
        <pc:spChg chg="add mod">
          <ac:chgData name="Meyer Raphael (PAR-ES)" userId="79615dfe-ed48-4e74-a40f-4f7b034c1c27" providerId="ADAL" clId="{50B11D1E-3C98-42A5-AC2C-CB81D3349B72}" dt="2021-05-25T14:17:56.453" v="188" actId="1037"/>
          <ac:spMkLst>
            <pc:docMk/>
            <pc:sldMk cId="1495152177" sldId="298"/>
            <ac:spMk id="12" creationId="{970D2C07-63A2-4265-B006-56F685FE80A5}"/>
          </ac:spMkLst>
        </pc:spChg>
        <pc:spChg chg="add mod">
          <ac:chgData name="Meyer Raphael (PAR-ES)" userId="79615dfe-ed48-4e74-a40f-4f7b034c1c27" providerId="ADAL" clId="{50B11D1E-3C98-42A5-AC2C-CB81D3349B72}" dt="2021-05-25T14:17:56.453" v="188" actId="1037"/>
          <ac:spMkLst>
            <pc:docMk/>
            <pc:sldMk cId="1495152177" sldId="298"/>
            <ac:spMk id="13" creationId="{93412675-62AA-41D8-997C-4E877ED953A8}"/>
          </ac:spMkLst>
        </pc:spChg>
        <pc:spChg chg="add del mod">
          <ac:chgData name="Meyer Raphael (PAR-ES)" userId="79615dfe-ed48-4e74-a40f-4f7b034c1c27" providerId="ADAL" clId="{50B11D1E-3C98-42A5-AC2C-CB81D3349B72}" dt="2021-05-25T14:16:37.093" v="156" actId="478"/>
          <ac:spMkLst>
            <pc:docMk/>
            <pc:sldMk cId="1495152177" sldId="298"/>
            <ac:spMk id="14" creationId="{205BF4D3-0DD6-43D2-894F-B7A9915CC8F0}"/>
          </ac:spMkLst>
        </pc:spChg>
        <pc:spChg chg="del">
          <ac:chgData name="Meyer Raphael (PAR-ES)" userId="79615dfe-ed48-4e74-a40f-4f7b034c1c27" providerId="ADAL" clId="{50B11D1E-3C98-42A5-AC2C-CB81D3349B72}" dt="2021-05-25T13:47:38.306" v="17" actId="478"/>
          <ac:spMkLst>
            <pc:docMk/>
            <pc:sldMk cId="1495152177" sldId="298"/>
            <ac:spMk id="15" creationId="{CC1F0CCA-7B55-41F9-A1FF-769ED7C753BD}"/>
          </ac:spMkLst>
        </pc:spChg>
        <pc:graphicFrameChg chg="mod">
          <ac:chgData name="Meyer Raphael (PAR-ES)" userId="79615dfe-ed48-4e74-a40f-4f7b034c1c27" providerId="ADAL" clId="{50B11D1E-3C98-42A5-AC2C-CB81D3349B72}" dt="2021-05-25T14:15:17.600" v="124"/>
          <ac:graphicFrameMkLst>
            <pc:docMk/>
            <pc:sldMk cId="1495152177" sldId="298"/>
            <ac:graphicFrameMk id="5" creationId="{4CF6AB8B-CAB9-4C7E-8E59-E00357A4D7F0}"/>
          </ac:graphicFrameMkLst>
        </pc:graphicFrameChg>
        <pc:cxnChg chg="add mod ord">
          <ac:chgData name="Meyer Raphael (PAR-ES)" userId="79615dfe-ed48-4e74-a40f-4f7b034c1c27" providerId="ADAL" clId="{50B11D1E-3C98-42A5-AC2C-CB81D3349B72}" dt="2021-05-25T14:17:45.285" v="172" actId="1037"/>
          <ac:cxnSpMkLst>
            <pc:docMk/>
            <pc:sldMk cId="1495152177" sldId="298"/>
            <ac:cxnSpMk id="8" creationId="{6F3EB9D3-E612-42D9-859B-1905BD876C26}"/>
          </ac:cxnSpMkLst>
        </pc:cxnChg>
      </pc:sldChg>
      <pc:sldChg chg="mod">
        <pc:chgData name="Meyer Raphael (PAR-ES)" userId="79615dfe-ed48-4e74-a40f-4f7b034c1c27" providerId="ADAL" clId="{50B11D1E-3C98-42A5-AC2C-CB81D3349B72}" dt="2021-05-25T13:44:31.437" v="5" actId="27918"/>
        <pc:sldMkLst>
          <pc:docMk/>
          <pc:sldMk cId="1667945532" sldId="306"/>
        </pc:sldMkLst>
      </pc:sldChg>
      <pc:sldChg chg="mod">
        <pc:chgData name="Meyer Raphael (PAR-ES)" userId="79615dfe-ed48-4e74-a40f-4f7b034c1c27" providerId="ADAL" clId="{50B11D1E-3C98-42A5-AC2C-CB81D3349B72}" dt="2021-05-25T14:03:31.785" v="28" actId="27918"/>
        <pc:sldMkLst>
          <pc:docMk/>
          <pc:sldMk cId="3480515475" sldId="357"/>
        </pc:sldMkLst>
      </pc:sldChg>
    </pc:docChg>
  </pc:docChgLst>
  <pc:docChgLst>
    <pc:chgData name="Meyer Raphael (PAR-ES)" userId="79615dfe-ed48-4e74-a40f-4f7b034c1c27" providerId="ADAL" clId="{C3A857A9-D187-4A8A-B6CF-844B098D50BB}"/>
    <pc:docChg chg="modSld">
      <pc:chgData name="Meyer Raphael (PAR-ES)" userId="79615dfe-ed48-4e74-a40f-4f7b034c1c27" providerId="ADAL" clId="{C3A857A9-D187-4A8A-B6CF-844B098D50BB}" dt="2021-10-01T08:23:54.667" v="44" actId="20577"/>
      <pc:docMkLst>
        <pc:docMk/>
      </pc:docMkLst>
      <pc:sldChg chg="modSp mod">
        <pc:chgData name="Meyer Raphael (PAR-ES)" userId="79615dfe-ed48-4e74-a40f-4f7b034c1c27" providerId="ADAL" clId="{C3A857A9-D187-4A8A-B6CF-844B098D50BB}" dt="2021-10-01T08:23:24.970" v="37" actId="20577"/>
        <pc:sldMkLst>
          <pc:docMk/>
          <pc:sldMk cId="1495152177" sldId="298"/>
        </pc:sldMkLst>
        <pc:graphicFrameChg chg="modGraphic">
          <ac:chgData name="Meyer Raphael (PAR-ES)" userId="79615dfe-ed48-4e74-a40f-4f7b034c1c27" providerId="ADAL" clId="{C3A857A9-D187-4A8A-B6CF-844B098D50BB}" dt="2021-10-01T08:23:24.970" v="37" actId="20577"/>
          <ac:graphicFrameMkLst>
            <pc:docMk/>
            <pc:sldMk cId="1495152177" sldId="298"/>
            <ac:graphicFrameMk id="9" creationId="{E1369C63-C4A7-403B-A03F-B004599F910A}"/>
          </ac:graphicFrameMkLst>
        </pc:graphicFrameChg>
      </pc:sldChg>
      <pc:sldChg chg="modSp mod">
        <pc:chgData name="Meyer Raphael (PAR-ES)" userId="79615dfe-ed48-4e74-a40f-4f7b034c1c27" providerId="ADAL" clId="{C3A857A9-D187-4A8A-B6CF-844B098D50BB}" dt="2021-10-01T08:23:44.823" v="41" actId="20577"/>
        <pc:sldMkLst>
          <pc:docMk/>
          <pc:sldMk cId="3590012689" sldId="365"/>
        </pc:sldMkLst>
        <pc:graphicFrameChg chg="mod modGraphic">
          <ac:chgData name="Meyer Raphael (PAR-ES)" userId="79615dfe-ed48-4e74-a40f-4f7b034c1c27" providerId="ADAL" clId="{C3A857A9-D187-4A8A-B6CF-844B098D50BB}" dt="2021-10-01T08:23:44.823" v="41" actId="20577"/>
          <ac:graphicFrameMkLst>
            <pc:docMk/>
            <pc:sldMk cId="3590012689" sldId="365"/>
            <ac:graphicFrameMk id="9" creationId="{E1369C63-C4A7-403B-A03F-B004599F910A}"/>
          </ac:graphicFrameMkLst>
        </pc:graphicFrameChg>
      </pc:sldChg>
      <pc:sldChg chg="modSp mod">
        <pc:chgData name="Meyer Raphael (PAR-ES)" userId="79615dfe-ed48-4e74-a40f-4f7b034c1c27" providerId="ADAL" clId="{C3A857A9-D187-4A8A-B6CF-844B098D50BB}" dt="2021-10-01T08:23:54.667" v="44" actId="20577"/>
        <pc:sldMkLst>
          <pc:docMk/>
          <pc:sldMk cId="689864941" sldId="366"/>
        </pc:sldMkLst>
        <pc:graphicFrameChg chg="mod modGraphic">
          <ac:chgData name="Meyer Raphael (PAR-ES)" userId="79615dfe-ed48-4e74-a40f-4f7b034c1c27" providerId="ADAL" clId="{C3A857A9-D187-4A8A-B6CF-844B098D50BB}" dt="2021-10-01T08:23:54.667" v="44"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7ED1063F-D2A9-43CF-91B5-C9448CFA5831}"/>
    <pc:docChg chg="modSld">
      <pc:chgData name="Meyer Raphael (PAR-ES)" userId="79615dfe-ed48-4e74-a40f-4f7b034c1c27" providerId="ADAL" clId="{7ED1063F-D2A9-43CF-91B5-C9448CFA5831}" dt="2021-11-23T10:02:31.376" v="3" actId="20577"/>
      <pc:docMkLst>
        <pc:docMk/>
      </pc:docMkLst>
      <pc:sldChg chg="modSp mod">
        <pc:chgData name="Meyer Raphael (PAR-ES)" userId="79615dfe-ed48-4e74-a40f-4f7b034c1c27" providerId="ADAL" clId="{7ED1063F-D2A9-43CF-91B5-C9448CFA5831}" dt="2021-11-23T10:02:31.376" v="3" actId="20577"/>
        <pc:sldMkLst>
          <pc:docMk/>
          <pc:sldMk cId="2641487227" sldId="271"/>
        </pc:sldMkLst>
        <pc:spChg chg="mod">
          <ac:chgData name="Meyer Raphael (PAR-ES)" userId="79615dfe-ed48-4e74-a40f-4f7b034c1c27" providerId="ADAL" clId="{7ED1063F-D2A9-43CF-91B5-C9448CFA5831}" dt="2021-11-23T10:02:31.376" v="3" actId="20577"/>
          <ac:spMkLst>
            <pc:docMk/>
            <pc:sldMk cId="2641487227" sldId="271"/>
            <ac:spMk id="10" creationId="{41B9B9AB-4B12-4760-AF37-4FABDDFAE68B}"/>
          </ac:spMkLst>
        </pc:spChg>
      </pc:sldChg>
    </pc:docChg>
  </pc:docChgLst>
  <pc:docChgLst>
    <pc:chgData name="Meyer Raphael (PAR-ES)" userId="79615dfe-ed48-4e74-a40f-4f7b034c1c27" providerId="ADAL" clId="{92EE8BAC-19AC-48CE-A3E5-4ED76E0D1882}"/>
    <pc:docChg chg="undo custSel addSld delSld modSld sldOrd">
      <pc:chgData name="Meyer Raphael (PAR-ES)" userId="79615dfe-ed48-4e74-a40f-4f7b034c1c27" providerId="ADAL" clId="{92EE8BAC-19AC-48CE-A3E5-4ED76E0D1882}" dt="2021-10-13T12:34:09.248" v="467" actId="1037"/>
      <pc:docMkLst>
        <pc:docMk/>
      </pc:docMkLst>
      <pc:sldChg chg="ord">
        <pc:chgData name="Meyer Raphael (PAR-ES)" userId="79615dfe-ed48-4e74-a40f-4f7b034c1c27" providerId="ADAL" clId="{92EE8BAC-19AC-48CE-A3E5-4ED76E0D1882}" dt="2021-10-13T09:03:17.145" v="2"/>
        <pc:sldMkLst>
          <pc:docMk/>
          <pc:sldMk cId="3137099422" sldId="358"/>
        </pc:sldMkLst>
      </pc:sldChg>
      <pc:sldChg chg="addSp modSp mod ord">
        <pc:chgData name="Meyer Raphael (PAR-ES)" userId="79615dfe-ed48-4e74-a40f-4f7b034c1c27" providerId="ADAL" clId="{92EE8BAC-19AC-48CE-A3E5-4ED76E0D1882}" dt="2021-10-13T10:00:48.591" v="106"/>
        <pc:sldMkLst>
          <pc:docMk/>
          <pc:sldMk cId="3462026173" sldId="370"/>
        </pc:sldMkLst>
        <pc:spChg chg="mod">
          <ac:chgData name="Meyer Raphael (PAR-ES)" userId="79615dfe-ed48-4e74-a40f-4f7b034c1c27" providerId="ADAL" clId="{92EE8BAC-19AC-48CE-A3E5-4ED76E0D1882}" dt="2021-10-13T09:46:36.418" v="67" actId="1037"/>
          <ac:spMkLst>
            <pc:docMk/>
            <pc:sldMk cId="3462026173" sldId="370"/>
            <ac:spMk id="9" creationId="{42AA12ED-4579-4FE5-A07A-BC01B76928FB}"/>
          </ac:spMkLst>
        </pc:spChg>
        <pc:spChg chg="mod">
          <ac:chgData name="Meyer Raphael (PAR-ES)" userId="79615dfe-ed48-4e74-a40f-4f7b034c1c27" providerId="ADAL" clId="{92EE8BAC-19AC-48CE-A3E5-4ED76E0D1882}" dt="2021-10-13T09:46:11.568" v="32" actId="1076"/>
          <ac:spMkLst>
            <pc:docMk/>
            <pc:sldMk cId="3462026173" sldId="370"/>
            <ac:spMk id="12" creationId="{4DA2B71E-2CC2-4C38-BAAB-A71345A07B83}"/>
          </ac:spMkLst>
        </pc:spChg>
        <pc:spChg chg="mod">
          <ac:chgData name="Meyer Raphael (PAR-ES)" userId="79615dfe-ed48-4e74-a40f-4f7b034c1c27" providerId="ADAL" clId="{92EE8BAC-19AC-48CE-A3E5-4ED76E0D1882}" dt="2021-10-13T09:46:27.703" v="57" actId="1038"/>
          <ac:spMkLst>
            <pc:docMk/>
            <pc:sldMk cId="3462026173" sldId="370"/>
            <ac:spMk id="13" creationId="{B946C02A-50DE-42C7-A209-D603829BA4B1}"/>
          </ac:spMkLst>
        </pc:spChg>
        <pc:graphicFrameChg chg="mod">
          <ac:chgData name="Meyer Raphael (PAR-ES)" userId="79615dfe-ed48-4e74-a40f-4f7b034c1c27" providerId="ADAL" clId="{92EE8BAC-19AC-48CE-A3E5-4ED76E0D1882}" dt="2021-10-13T09:55:21.606" v="72" actId="1957"/>
          <ac:graphicFrameMkLst>
            <pc:docMk/>
            <pc:sldMk cId="3462026173" sldId="370"/>
            <ac:graphicFrameMk id="10" creationId="{E856299E-9B60-478F-8674-1045505692C4}"/>
          </ac:graphicFrameMkLst>
        </pc:graphicFrameChg>
        <pc:cxnChg chg="mod">
          <ac:chgData name="Meyer Raphael (PAR-ES)" userId="79615dfe-ed48-4e74-a40f-4f7b034c1c27" providerId="ADAL" clId="{92EE8BAC-19AC-48CE-A3E5-4ED76E0D1882}" dt="2021-10-13T09:46:36.418" v="67" actId="1037"/>
          <ac:cxnSpMkLst>
            <pc:docMk/>
            <pc:sldMk cId="3462026173" sldId="370"/>
            <ac:cxnSpMk id="7" creationId="{D77902D2-9169-4095-AF09-B1A9DB2A7B74}"/>
          </ac:cxnSpMkLst>
        </pc:cxnChg>
        <pc:cxnChg chg="mod">
          <ac:chgData name="Meyer Raphael (PAR-ES)" userId="79615dfe-ed48-4e74-a40f-4f7b034c1c27" providerId="ADAL" clId="{92EE8BAC-19AC-48CE-A3E5-4ED76E0D1882}" dt="2021-10-13T09:46:27.703" v="57" actId="1038"/>
          <ac:cxnSpMkLst>
            <pc:docMk/>
            <pc:sldMk cId="3462026173" sldId="370"/>
            <ac:cxnSpMk id="11" creationId="{A9B79FFE-7EB4-42F9-AF46-169C3E5C72D5}"/>
          </ac:cxnSpMkLst>
        </pc:cxnChg>
        <pc:cxnChg chg="add mod">
          <ac:chgData name="Meyer Raphael (PAR-ES)" userId="79615dfe-ed48-4e74-a40f-4f7b034c1c27" providerId="ADAL" clId="{92EE8BAC-19AC-48CE-A3E5-4ED76E0D1882}" dt="2021-10-13T10:00:48.591" v="106"/>
          <ac:cxnSpMkLst>
            <pc:docMk/>
            <pc:sldMk cId="3462026173" sldId="370"/>
            <ac:cxnSpMk id="14" creationId="{D95E97EF-7343-45BB-A526-4AD2D1ED8B53}"/>
          </ac:cxnSpMkLst>
        </pc:cxnChg>
      </pc:sldChg>
      <pc:sldChg chg="add mod ord">
        <pc:chgData name="Meyer Raphael (PAR-ES)" userId="79615dfe-ed48-4e74-a40f-4f7b034c1c27" providerId="ADAL" clId="{92EE8BAC-19AC-48CE-A3E5-4ED76E0D1882}" dt="2021-10-13T09:43:09.868" v="27"/>
        <pc:sldMkLst>
          <pc:docMk/>
          <pc:sldMk cId="1259040757" sldId="371"/>
        </pc:sldMkLst>
      </pc:sldChg>
      <pc:sldChg chg="add mod ord">
        <pc:chgData name="Meyer Raphael (PAR-ES)" userId="79615dfe-ed48-4e74-a40f-4f7b034c1c27" providerId="ADAL" clId="{92EE8BAC-19AC-48CE-A3E5-4ED76E0D1882}" dt="2021-10-13T09:43:09.868" v="27"/>
        <pc:sldMkLst>
          <pc:docMk/>
          <pc:sldMk cId="1661015866" sldId="372"/>
        </pc:sldMkLst>
      </pc:sldChg>
      <pc:sldChg chg="addSp delSp modSp add mod">
        <pc:chgData name="Meyer Raphael (PAR-ES)" userId="79615dfe-ed48-4e74-a40f-4f7b034c1c27" providerId="ADAL" clId="{92EE8BAC-19AC-48CE-A3E5-4ED76E0D1882}" dt="2021-10-13T12:34:09.248" v="467" actId="1037"/>
        <pc:sldMkLst>
          <pc:docMk/>
          <pc:sldMk cId="1537997412" sldId="373"/>
        </pc:sldMkLst>
        <pc:spChg chg="del mod">
          <ac:chgData name="Meyer Raphael (PAR-ES)" userId="79615dfe-ed48-4e74-a40f-4f7b034c1c27" providerId="ADAL" clId="{92EE8BAC-19AC-48CE-A3E5-4ED76E0D1882}" dt="2021-10-13T11:42:34.763" v="419" actId="478"/>
          <ac:spMkLst>
            <pc:docMk/>
            <pc:sldMk cId="1537997412" sldId="373"/>
            <ac:spMk id="3" creationId="{C8768AF4-4D23-49CA-95CE-2763BC39243D}"/>
          </ac:spMkLst>
        </pc:spChg>
        <pc:spChg chg="add mod">
          <ac:chgData name="Meyer Raphael (PAR-ES)" userId="79615dfe-ed48-4e74-a40f-4f7b034c1c27" providerId="ADAL" clId="{92EE8BAC-19AC-48CE-A3E5-4ED76E0D1882}" dt="2021-10-13T11:38:42.234" v="373" actId="1076"/>
          <ac:spMkLst>
            <pc:docMk/>
            <pc:sldMk cId="1537997412" sldId="373"/>
            <ac:spMk id="6" creationId="{8C570F95-0775-4F12-8DDA-DD52CE7241CC}"/>
          </ac:spMkLst>
        </pc:spChg>
        <pc:spChg chg="mod">
          <ac:chgData name="Meyer Raphael (PAR-ES)" userId="79615dfe-ed48-4e74-a40f-4f7b034c1c27" providerId="ADAL" clId="{92EE8BAC-19AC-48CE-A3E5-4ED76E0D1882}" dt="2021-10-13T12:34:09.248" v="467" actId="1037"/>
          <ac:spMkLst>
            <pc:docMk/>
            <pc:sldMk cId="1537997412" sldId="373"/>
            <ac:spMk id="9" creationId="{42AA12ED-4579-4FE5-A07A-BC01B76928FB}"/>
          </ac:spMkLst>
        </pc:spChg>
        <pc:spChg chg="mod">
          <ac:chgData name="Meyer Raphael (PAR-ES)" userId="79615dfe-ed48-4e74-a40f-4f7b034c1c27" providerId="ADAL" clId="{92EE8BAC-19AC-48CE-A3E5-4ED76E0D1882}" dt="2021-10-13T11:39:47.336" v="382" actId="1037"/>
          <ac:spMkLst>
            <pc:docMk/>
            <pc:sldMk cId="1537997412" sldId="373"/>
            <ac:spMk id="12" creationId="{4DA2B71E-2CC2-4C38-BAAB-A71345A07B83}"/>
          </ac:spMkLst>
        </pc:spChg>
        <pc:spChg chg="mod">
          <ac:chgData name="Meyer Raphael (PAR-ES)" userId="79615dfe-ed48-4e74-a40f-4f7b034c1c27" providerId="ADAL" clId="{92EE8BAC-19AC-48CE-A3E5-4ED76E0D1882}" dt="2021-10-13T12:31:58.875" v="447" actId="1038"/>
          <ac:spMkLst>
            <pc:docMk/>
            <pc:sldMk cId="1537997412" sldId="373"/>
            <ac:spMk id="13" creationId="{B946C02A-50DE-42C7-A209-D603829BA4B1}"/>
          </ac:spMkLst>
        </pc:spChg>
        <pc:spChg chg="mod">
          <ac:chgData name="Meyer Raphael (PAR-ES)" userId="79615dfe-ed48-4e74-a40f-4f7b034c1c27" providerId="ADAL" clId="{92EE8BAC-19AC-48CE-A3E5-4ED76E0D1882}" dt="2021-10-13T11:40:13.724" v="406" actId="1076"/>
          <ac:spMkLst>
            <pc:docMk/>
            <pc:sldMk cId="1537997412" sldId="373"/>
            <ac:spMk id="19" creationId="{9FB4AF3B-D5AD-4F53-ABB0-E4CE1F5D8E5E}"/>
          </ac:spMkLst>
        </pc:spChg>
        <pc:spChg chg="add mod">
          <ac:chgData name="Meyer Raphael (PAR-ES)" userId="79615dfe-ed48-4e74-a40f-4f7b034c1c27" providerId="ADAL" clId="{92EE8BAC-19AC-48CE-A3E5-4ED76E0D1882}" dt="2021-10-13T11:38:37.844" v="372" actId="14100"/>
          <ac:spMkLst>
            <pc:docMk/>
            <pc:sldMk cId="1537997412" sldId="373"/>
            <ac:spMk id="24" creationId="{FD07A55C-6879-4E52-B5A8-38679864E2FC}"/>
          </ac:spMkLst>
        </pc:spChg>
        <pc:spChg chg="add mod">
          <ac:chgData name="Meyer Raphael (PAR-ES)" userId="79615dfe-ed48-4e74-a40f-4f7b034c1c27" providerId="ADAL" clId="{92EE8BAC-19AC-48CE-A3E5-4ED76E0D1882}" dt="2021-10-13T11:42:30.740" v="418" actId="1076"/>
          <ac:spMkLst>
            <pc:docMk/>
            <pc:sldMk cId="1537997412" sldId="373"/>
            <ac:spMk id="30" creationId="{4F4C31ED-0414-44F1-B84F-EA8394C10C0D}"/>
          </ac:spMkLst>
        </pc:spChg>
        <pc:graphicFrameChg chg="mod">
          <ac:chgData name="Meyer Raphael (PAR-ES)" userId="79615dfe-ed48-4e74-a40f-4f7b034c1c27" providerId="ADAL" clId="{92EE8BAC-19AC-48CE-A3E5-4ED76E0D1882}" dt="2021-10-13T12:28:40.842" v="443" actId="14861"/>
          <ac:graphicFrameMkLst>
            <pc:docMk/>
            <pc:sldMk cId="1537997412" sldId="373"/>
            <ac:graphicFrameMk id="10" creationId="{E856299E-9B60-478F-8674-1045505692C4}"/>
          </ac:graphicFrameMkLst>
        </pc:graphicFrameChg>
        <pc:graphicFrameChg chg="add del mod">
          <ac:chgData name="Meyer Raphael (PAR-ES)" userId="79615dfe-ed48-4e74-a40f-4f7b034c1c27" providerId="ADAL" clId="{92EE8BAC-19AC-48CE-A3E5-4ED76E0D1882}" dt="2021-10-13T09:59:11.458" v="82"/>
          <ac:graphicFrameMkLst>
            <pc:docMk/>
            <pc:sldMk cId="1537997412" sldId="373"/>
            <ac:graphicFrameMk id="14" creationId="{C010D2CE-C18D-43C8-BF44-8266881F7200}"/>
          </ac:graphicFrameMkLst>
        </pc:graphicFrameChg>
        <pc:cxnChg chg="add del mod">
          <ac:chgData name="Meyer Raphael (PAR-ES)" userId="79615dfe-ed48-4e74-a40f-4f7b034c1c27" providerId="ADAL" clId="{92EE8BAC-19AC-48CE-A3E5-4ED76E0D1882}" dt="2021-10-13T11:31:20.606" v="270" actId="478"/>
          <ac:cxnSpMkLst>
            <pc:docMk/>
            <pc:sldMk cId="1537997412" sldId="373"/>
            <ac:cxnSpMk id="4" creationId="{FB3627E6-B32F-4AC4-AE77-7C757B307C49}"/>
          </ac:cxnSpMkLst>
        </pc:cxnChg>
        <pc:cxnChg chg="mod">
          <ac:chgData name="Meyer Raphael (PAR-ES)" userId="79615dfe-ed48-4e74-a40f-4f7b034c1c27" providerId="ADAL" clId="{92EE8BAC-19AC-48CE-A3E5-4ED76E0D1882}" dt="2021-10-13T12:34:09.248" v="467" actId="1037"/>
          <ac:cxnSpMkLst>
            <pc:docMk/>
            <pc:sldMk cId="1537997412" sldId="373"/>
            <ac:cxnSpMk id="7" creationId="{D77902D2-9169-4095-AF09-B1A9DB2A7B74}"/>
          </ac:cxnSpMkLst>
        </pc:cxnChg>
        <pc:cxnChg chg="mod">
          <ac:chgData name="Meyer Raphael (PAR-ES)" userId="79615dfe-ed48-4e74-a40f-4f7b034c1c27" providerId="ADAL" clId="{92EE8BAC-19AC-48CE-A3E5-4ED76E0D1882}" dt="2021-10-13T12:31:58.875" v="447" actId="1038"/>
          <ac:cxnSpMkLst>
            <pc:docMk/>
            <pc:sldMk cId="1537997412" sldId="373"/>
            <ac:cxnSpMk id="11" creationId="{A9B79FFE-7EB4-42F9-AF46-169C3E5C72D5}"/>
          </ac:cxnSpMkLst>
        </pc:cxnChg>
        <pc:cxnChg chg="add mod">
          <ac:chgData name="Meyer Raphael (PAR-ES)" userId="79615dfe-ed48-4e74-a40f-4f7b034c1c27" providerId="ADAL" clId="{92EE8BAC-19AC-48CE-A3E5-4ED76E0D1882}" dt="2021-10-13T11:34:12.585" v="309" actId="1037"/>
          <ac:cxnSpMkLst>
            <pc:docMk/>
            <pc:sldMk cId="1537997412" sldId="373"/>
            <ac:cxnSpMk id="15" creationId="{0799A6FE-48F2-42FE-8723-6D0DDE6ED073}"/>
          </ac:cxnSpMkLst>
        </pc:cxnChg>
        <pc:cxnChg chg="add mod">
          <ac:chgData name="Meyer Raphael (PAR-ES)" userId="79615dfe-ed48-4e74-a40f-4f7b034c1c27" providerId="ADAL" clId="{92EE8BAC-19AC-48CE-A3E5-4ED76E0D1882}" dt="2021-10-13T11:38:21.166" v="371" actId="1036"/>
          <ac:cxnSpMkLst>
            <pc:docMk/>
            <pc:sldMk cId="1537997412" sldId="373"/>
            <ac:cxnSpMk id="17" creationId="{ADB86D40-94DA-4EA6-A13C-F322B879613C}"/>
          </ac:cxnSpMkLst>
        </pc:cxnChg>
        <pc:cxnChg chg="add mod">
          <ac:chgData name="Meyer Raphael (PAR-ES)" userId="79615dfe-ed48-4e74-a40f-4f7b034c1c27" providerId="ADAL" clId="{92EE8BAC-19AC-48CE-A3E5-4ED76E0D1882}" dt="2021-10-13T11:37:46.107" v="319" actId="14100"/>
          <ac:cxnSpMkLst>
            <pc:docMk/>
            <pc:sldMk cId="1537997412" sldId="373"/>
            <ac:cxnSpMk id="21" creationId="{70B5456D-B5DD-4516-B6A3-B39AEE671B52}"/>
          </ac:cxnSpMkLst>
        </pc:cxnChg>
      </pc:sldChg>
      <pc:sldChg chg="modSp add del">
        <pc:chgData name="Meyer Raphael (PAR-ES)" userId="79615dfe-ed48-4e74-a40f-4f7b034c1c27" providerId="ADAL" clId="{92EE8BAC-19AC-48CE-A3E5-4ED76E0D1882}" dt="2021-10-13T10:03:11.163" v="109" actId="2696"/>
        <pc:sldMkLst>
          <pc:docMk/>
          <pc:sldMk cId="2833047153" sldId="374"/>
        </pc:sldMkLst>
        <pc:graphicFrameChg chg="mod">
          <ac:chgData name="Meyer Raphael (PAR-ES)" userId="79615dfe-ed48-4e74-a40f-4f7b034c1c27" providerId="ADAL" clId="{92EE8BAC-19AC-48CE-A3E5-4ED76E0D1882}" dt="2021-10-13T10:02:35.351" v="108" actId="1957"/>
          <ac:graphicFrameMkLst>
            <pc:docMk/>
            <pc:sldMk cId="2833047153" sldId="374"/>
            <ac:graphicFrameMk id="10" creationId="{E856299E-9B60-478F-8674-1045505692C4}"/>
          </ac:graphicFrameMkLst>
        </pc:graphicFrameChg>
      </pc:sldChg>
    </pc:docChg>
  </pc:docChgLst>
  <pc:docChgLst>
    <pc:chgData name="Meyer Raphael (PAR-ES)" userId="79615dfe-ed48-4e74-a40f-4f7b034c1c27" providerId="ADAL" clId="{10982BC3-D958-4B41-9357-68E9BDD6C909}"/>
    <pc:docChg chg="delSld">
      <pc:chgData name="Meyer Raphael (PAR-ES)" userId="79615dfe-ed48-4e74-a40f-4f7b034c1c27" providerId="ADAL" clId="{10982BC3-D958-4B41-9357-68E9BDD6C909}" dt="2021-11-02T14:17:15.877" v="0" actId="47"/>
      <pc:docMkLst>
        <pc:docMk/>
      </pc:docMkLst>
      <pc:sldChg chg="del">
        <pc:chgData name="Meyer Raphael (PAR-ES)" userId="79615dfe-ed48-4e74-a40f-4f7b034c1c27" providerId="ADAL" clId="{10982BC3-D958-4B41-9357-68E9BDD6C909}" dt="2021-11-02T14:17:15.877" v="0" actId="47"/>
        <pc:sldMkLst>
          <pc:docMk/>
          <pc:sldMk cId="1199121354" sldId="417"/>
        </pc:sldMkLst>
      </pc:sldChg>
    </pc:docChg>
  </pc:docChgLst>
  <pc:docChgLst>
    <pc:chgData name="Meyer Raphael (PAR-ES)" userId="79615dfe-ed48-4e74-a40f-4f7b034c1c27" providerId="ADAL" clId="{39874381-8D5F-4C40-BD22-D0192665E6B5}"/>
    <pc:docChg chg="modSld">
      <pc:chgData name="Meyer Raphael (PAR-ES)" userId="79615dfe-ed48-4e74-a40f-4f7b034c1c27" providerId="ADAL" clId="{39874381-8D5F-4C40-BD22-D0192665E6B5}" dt="2021-10-29T08:18:00.949" v="52" actId="1037"/>
      <pc:docMkLst>
        <pc:docMk/>
      </pc:docMkLst>
      <pc:sldChg chg="modSp mod">
        <pc:chgData name="Meyer Raphael (PAR-ES)" userId="79615dfe-ed48-4e74-a40f-4f7b034c1c27" providerId="ADAL" clId="{39874381-8D5F-4C40-BD22-D0192665E6B5}" dt="2021-10-29T08:17:23.674" v="37" actId="1037"/>
        <pc:sldMkLst>
          <pc:docMk/>
          <pc:sldMk cId="2343299233" sldId="374"/>
        </pc:sldMkLst>
        <pc:spChg chg="mod">
          <ac:chgData name="Meyer Raphael (PAR-ES)" userId="79615dfe-ed48-4e74-a40f-4f7b034c1c27" providerId="ADAL" clId="{39874381-8D5F-4C40-BD22-D0192665E6B5}" dt="2021-10-29T08:17:23.674" v="37" actId="1037"/>
          <ac:spMkLst>
            <pc:docMk/>
            <pc:sldMk cId="2343299233" sldId="374"/>
            <ac:spMk id="12" creationId="{970D2C07-63A2-4265-B006-56F685FE80A5}"/>
          </ac:spMkLst>
        </pc:spChg>
        <pc:spChg chg="mod">
          <ac:chgData name="Meyer Raphael (PAR-ES)" userId="79615dfe-ed48-4e74-a40f-4f7b034c1c27" providerId="ADAL" clId="{39874381-8D5F-4C40-BD22-D0192665E6B5}" dt="2021-10-29T08:17:23.674" v="37" actId="1037"/>
          <ac:spMkLst>
            <pc:docMk/>
            <pc:sldMk cId="2343299233" sldId="374"/>
            <ac:spMk id="13" creationId="{93412675-62AA-41D8-997C-4E877ED953A8}"/>
          </ac:spMkLst>
        </pc:spChg>
        <pc:graphicFrameChg chg="modGraphic">
          <ac:chgData name="Meyer Raphael (PAR-ES)" userId="79615dfe-ed48-4e74-a40f-4f7b034c1c27" providerId="ADAL" clId="{39874381-8D5F-4C40-BD22-D0192665E6B5}" dt="2021-10-29T08:13:21.218" v="11"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39874381-8D5F-4C40-BD22-D0192665E6B5}" dt="2021-10-29T08:17:23.674" v="37" actId="1037"/>
          <ac:cxnSpMkLst>
            <pc:docMk/>
            <pc:sldMk cId="2343299233" sldId="374"/>
            <ac:cxnSpMk id="8" creationId="{6F3EB9D3-E612-42D9-859B-1905BD876C26}"/>
          </ac:cxnSpMkLst>
        </pc:cxnChg>
      </pc:sldChg>
      <pc:sldChg chg="modSp mod">
        <pc:chgData name="Meyer Raphael (PAR-ES)" userId="79615dfe-ed48-4e74-a40f-4f7b034c1c27" providerId="ADAL" clId="{39874381-8D5F-4C40-BD22-D0192665E6B5}" dt="2021-10-29T08:17:45.301" v="45" actId="1038"/>
        <pc:sldMkLst>
          <pc:docMk/>
          <pc:sldMk cId="3759573184" sldId="375"/>
        </pc:sldMkLst>
        <pc:spChg chg="mod">
          <ac:chgData name="Meyer Raphael (PAR-ES)" userId="79615dfe-ed48-4e74-a40f-4f7b034c1c27" providerId="ADAL" clId="{39874381-8D5F-4C40-BD22-D0192665E6B5}" dt="2021-10-29T08:17:45.301" v="45" actId="1038"/>
          <ac:spMkLst>
            <pc:docMk/>
            <pc:sldMk cId="3759573184" sldId="375"/>
            <ac:spMk id="12" creationId="{970D2C07-63A2-4265-B006-56F685FE80A5}"/>
          </ac:spMkLst>
        </pc:spChg>
        <pc:spChg chg="mod">
          <ac:chgData name="Meyer Raphael (PAR-ES)" userId="79615dfe-ed48-4e74-a40f-4f7b034c1c27" providerId="ADAL" clId="{39874381-8D5F-4C40-BD22-D0192665E6B5}" dt="2021-10-29T08:17:45.301" v="45" actId="1038"/>
          <ac:spMkLst>
            <pc:docMk/>
            <pc:sldMk cId="3759573184" sldId="375"/>
            <ac:spMk id="13" creationId="{93412675-62AA-41D8-997C-4E877ED953A8}"/>
          </ac:spMkLst>
        </pc:spChg>
        <pc:graphicFrameChg chg="mod modGraphic">
          <ac:chgData name="Meyer Raphael (PAR-ES)" userId="79615dfe-ed48-4e74-a40f-4f7b034c1c27" providerId="ADAL" clId="{39874381-8D5F-4C40-BD22-D0192665E6B5}" dt="2021-10-29T08:13:46.792" v="17"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39874381-8D5F-4C40-BD22-D0192665E6B5}" dt="2021-10-29T08:17:45.301" v="45" actId="1038"/>
          <ac:cxnSpMkLst>
            <pc:docMk/>
            <pc:sldMk cId="3759573184" sldId="375"/>
            <ac:cxnSpMk id="8" creationId="{6F3EB9D3-E612-42D9-859B-1905BD876C26}"/>
          </ac:cxnSpMkLst>
        </pc:cxnChg>
      </pc:sldChg>
      <pc:sldChg chg="modSp mod">
        <pc:chgData name="Meyer Raphael (PAR-ES)" userId="79615dfe-ed48-4e74-a40f-4f7b034c1c27" providerId="ADAL" clId="{39874381-8D5F-4C40-BD22-D0192665E6B5}" dt="2021-10-29T08:18:00.949" v="52" actId="1037"/>
        <pc:sldMkLst>
          <pc:docMk/>
          <pc:sldMk cId="3027727826" sldId="376"/>
        </pc:sldMkLst>
        <pc:spChg chg="mod">
          <ac:chgData name="Meyer Raphael (PAR-ES)" userId="79615dfe-ed48-4e74-a40f-4f7b034c1c27" providerId="ADAL" clId="{39874381-8D5F-4C40-BD22-D0192665E6B5}" dt="2021-10-29T08:18:00.949" v="52" actId="1037"/>
          <ac:spMkLst>
            <pc:docMk/>
            <pc:sldMk cId="3027727826" sldId="376"/>
            <ac:spMk id="12" creationId="{970D2C07-63A2-4265-B006-56F685FE80A5}"/>
          </ac:spMkLst>
        </pc:spChg>
        <pc:spChg chg="mod">
          <ac:chgData name="Meyer Raphael (PAR-ES)" userId="79615dfe-ed48-4e74-a40f-4f7b034c1c27" providerId="ADAL" clId="{39874381-8D5F-4C40-BD22-D0192665E6B5}" dt="2021-10-29T08:18:00.949" v="52" actId="1037"/>
          <ac:spMkLst>
            <pc:docMk/>
            <pc:sldMk cId="3027727826" sldId="376"/>
            <ac:spMk id="13" creationId="{93412675-62AA-41D8-997C-4E877ED953A8}"/>
          </ac:spMkLst>
        </pc:spChg>
        <pc:graphicFrameChg chg="mod modGraphic">
          <ac:chgData name="Meyer Raphael (PAR-ES)" userId="79615dfe-ed48-4e74-a40f-4f7b034c1c27" providerId="ADAL" clId="{39874381-8D5F-4C40-BD22-D0192665E6B5}" dt="2021-10-29T08:13:41.506"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39874381-8D5F-4C40-BD22-D0192665E6B5}" dt="2021-10-29T08:18:00.949" v="52" actId="1037"/>
          <ac:cxnSpMkLst>
            <pc:docMk/>
            <pc:sldMk cId="3027727826" sldId="376"/>
            <ac:cxnSpMk id="8" creationId="{6F3EB9D3-E612-42D9-859B-1905BD876C26}"/>
          </ac:cxnSpMkLst>
        </pc:cxnChg>
      </pc:sldChg>
    </pc:docChg>
  </pc:docChgLst>
  <pc:docChgLst>
    <pc:chgData name="Meyer Raphael (PAR-ES)" userId="79615dfe-ed48-4e74-a40f-4f7b034c1c27" providerId="ADAL" clId="{DE7C88A0-74DE-46DA-9412-192AAB9D7595}"/>
    <pc:docChg chg="undo custSel delSld modSld">
      <pc:chgData name="Meyer Raphael (PAR-ES)" userId="79615dfe-ed48-4e74-a40f-4f7b034c1c27" providerId="ADAL" clId="{DE7C88A0-74DE-46DA-9412-192AAB9D7595}" dt="2021-11-08T11:21:13.895" v="201" actId="1035"/>
      <pc:docMkLst>
        <pc:docMk/>
      </pc:docMkLst>
      <pc:sldChg chg="modSp mod">
        <pc:chgData name="Meyer Raphael (PAR-ES)" userId="79615dfe-ed48-4e74-a40f-4f7b034c1c27" providerId="ADAL" clId="{DE7C88A0-74DE-46DA-9412-192AAB9D7595}" dt="2021-11-08T11:05:51.260" v="10" actId="6549"/>
        <pc:sldMkLst>
          <pc:docMk/>
          <pc:sldMk cId="3808035539" sldId="270"/>
        </pc:sldMkLst>
        <pc:spChg chg="mod">
          <ac:chgData name="Meyer Raphael (PAR-ES)" userId="79615dfe-ed48-4e74-a40f-4f7b034c1c27" providerId="ADAL" clId="{DE7C88A0-74DE-46DA-9412-192AAB9D7595}" dt="2021-11-08T11:05:31.894" v="8"/>
          <ac:spMkLst>
            <pc:docMk/>
            <pc:sldMk cId="3808035539" sldId="270"/>
            <ac:spMk id="2" creationId="{00000000-0000-0000-0000-000000000000}"/>
          </ac:spMkLst>
        </pc:spChg>
        <pc:spChg chg="mod">
          <ac:chgData name="Meyer Raphael (PAR-ES)" userId="79615dfe-ed48-4e74-a40f-4f7b034c1c27" providerId="ADAL" clId="{DE7C88A0-74DE-46DA-9412-192AAB9D7595}" dt="2021-11-08T11:05:51.260" v="10" actId="6549"/>
          <ac:spMkLst>
            <pc:docMk/>
            <pc:sldMk cId="3808035539" sldId="270"/>
            <ac:spMk id="6" creationId="{0148E78D-7FBB-46BC-A7E3-0EFE6D9E4679}"/>
          </ac:spMkLst>
        </pc:spChg>
      </pc:sldChg>
      <pc:sldChg chg="modSp mod">
        <pc:chgData name="Meyer Raphael (PAR-ES)" userId="79615dfe-ed48-4e74-a40f-4f7b034c1c27" providerId="ADAL" clId="{DE7C88A0-74DE-46DA-9412-192AAB9D7595}" dt="2021-11-08T11:10:34.123" v="44" actId="404"/>
        <pc:sldMkLst>
          <pc:docMk/>
          <pc:sldMk cId="3677740869" sldId="271"/>
        </pc:sldMkLst>
        <pc:spChg chg="mod">
          <ac:chgData name="Meyer Raphael (PAR-ES)" userId="79615dfe-ed48-4e74-a40f-4f7b034c1c27" providerId="ADAL" clId="{DE7C88A0-74DE-46DA-9412-192AAB9D7595}" dt="2021-11-08T11:05:40.478" v="9"/>
          <ac:spMkLst>
            <pc:docMk/>
            <pc:sldMk cId="3677740869" sldId="271"/>
            <ac:spMk id="2" creationId="{00000000-0000-0000-0000-000000000000}"/>
          </ac:spMkLst>
        </pc:spChg>
        <pc:spChg chg="mod">
          <ac:chgData name="Meyer Raphael (PAR-ES)" userId="79615dfe-ed48-4e74-a40f-4f7b034c1c27" providerId="ADAL" clId="{DE7C88A0-74DE-46DA-9412-192AAB9D7595}" dt="2021-11-08T11:07:35.668" v="42" actId="207"/>
          <ac:spMkLst>
            <pc:docMk/>
            <pc:sldMk cId="3677740869" sldId="271"/>
            <ac:spMk id="3" creationId="{00000000-0000-0000-0000-000000000000}"/>
          </ac:spMkLst>
        </pc:spChg>
        <pc:spChg chg="mod">
          <ac:chgData name="Meyer Raphael (PAR-ES)" userId="79615dfe-ed48-4e74-a40f-4f7b034c1c27" providerId="ADAL" clId="{DE7C88A0-74DE-46DA-9412-192AAB9D7595}" dt="2021-11-08T11:06:39.910" v="41" actId="1036"/>
          <ac:spMkLst>
            <pc:docMk/>
            <pc:sldMk cId="3677740869" sldId="271"/>
            <ac:spMk id="6" creationId="{43DF758D-1D72-4940-A1AE-B914B7A641D5}"/>
          </ac:spMkLst>
        </pc:spChg>
        <pc:spChg chg="mod">
          <ac:chgData name="Meyer Raphael (PAR-ES)" userId="79615dfe-ed48-4e74-a40f-4f7b034c1c27" providerId="ADAL" clId="{DE7C88A0-74DE-46DA-9412-192AAB9D7595}" dt="2021-11-08T11:03:43.200" v="5" actId="6549"/>
          <ac:spMkLst>
            <pc:docMk/>
            <pc:sldMk cId="3677740869" sldId="271"/>
            <ac:spMk id="7" creationId="{F89A807E-3A97-42E9-81E0-CE2025105F4C}"/>
          </ac:spMkLst>
        </pc:spChg>
        <pc:graphicFrameChg chg="mod">
          <ac:chgData name="Meyer Raphael (PAR-ES)" userId="79615dfe-ed48-4e74-a40f-4f7b034c1c27" providerId="ADAL" clId="{DE7C88A0-74DE-46DA-9412-192AAB9D7595}" dt="2021-11-08T11:10:34.123" v="44" actId="404"/>
          <ac:graphicFrameMkLst>
            <pc:docMk/>
            <pc:sldMk cId="3677740869" sldId="271"/>
            <ac:graphicFrameMk id="9" creationId="{00000000-0000-0000-0000-000000000000}"/>
          </ac:graphicFrameMkLst>
        </pc:graphicFrameChg>
      </pc:sldChg>
      <pc:sldChg chg="modSp mod">
        <pc:chgData name="Meyer Raphael (PAR-ES)" userId="79615dfe-ed48-4e74-a40f-4f7b034c1c27" providerId="ADAL" clId="{DE7C88A0-74DE-46DA-9412-192AAB9D7595}" dt="2021-11-08T11:17:15.274" v="119" actId="207"/>
        <pc:sldMkLst>
          <pc:docMk/>
          <pc:sldMk cId="1963209825" sldId="272"/>
        </pc:sldMkLst>
        <pc:spChg chg="mod">
          <ac:chgData name="Meyer Raphael (PAR-ES)" userId="79615dfe-ed48-4e74-a40f-4f7b034c1c27" providerId="ADAL" clId="{DE7C88A0-74DE-46DA-9412-192AAB9D7595}" dt="2021-11-08T11:15:24.270" v="92" actId="20577"/>
          <ac:spMkLst>
            <pc:docMk/>
            <pc:sldMk cId="1963209825" sldId="272"/>
            <ac:spMk id="2" creationId="{00000000-0000-0000-0000-000000000000}"/>
          </ac:spMkLst>
        </pc:spChg>
        <pc:spChg chg="mod">
          <ac:chgData name="Meyer Raphael (PAR-ES)" userId="79615dfe-ed48-4e74-a40f-4f7b034c1c27" providerId="ADAL" clId="{DE7C88A0-74DE-46DA-9412-192AAB9D7595}" dt="2021-11-08T11:17:15.274" v="119" actId="207"/>
          <ac:spMkLst>
            <pc:docMk/>
            <pc:sldMk cId="1963209825" sldId="272"/>
            <ac:spMk id="3" creationId="{00000000-0000-0000-0000-000000000000}"/>
          </ac:spMkLst>
        </pc:spChg>
        <pc:spChg chg="mod">
          <ac:chgData name="Meyer Raphael (PAR-ES)" userId="79615dfe-ed48-4e74-a40f-4f7b034c1c27" providerId="ADAL" clId="{DE7C88A0-74DE-46DA-9412-192AAB9D7595}" dt="2021-11-08T11:16:04.828" v="116" actId="1036"/>
          <ac:spMkLst>
            <pc:docMk/>
            <pc:sldMk cId="1963209825" sldId="272"/>
            <ac:spMk id="6" creationId="{CF6DBC6D-330A-4C20-9AEB-024C54AD5363}"/>
          </ac:spMkLst>
        </pc:spChg>
        <pc:spChg chg="mod">
          <ac:chgData name="Meyer Raphael (PAR-ES)" userId="79615dfe-ed48-4e74-a40f-4f7b034c1c27" providerId="ADAL" clId="{DE7C88A0-74DE-46DA-9412-192AAB9D7595}" dt="2021-11-08T11:15:31.902" v="93" actId="20577"/>
          <ac:spMkLst>
            <pc:docMk/>
            <pc:sldMk cId="1963209825" sldId="272"/>
            <ac:spMk id="7" creationId="{78F08A34-A86E-4774-9EC1-635781A0CFBC}"/>
          </ac:spMkLst>
        </pc:spChg>
        <pc:graphicFrameChg chg="mod">
          <ac:chgData name="Meyer Raphael (PAR-ES)" userId="79615dfe-ed48-4e74-a40f-4f7b034c1c27" providerId="ADAL" clId="{DE7C88A0-74DE-46DA-9412-192AAB9D7595}" dt="2021-11-08T11:16:24.678" v="118" actId="404"/>
          <ac:graphicFrameMkLst>
            <pc:docMk/>
            <pc:sldMk cId="1963209825" sldId="272"/>
            <ac:graphicFrameMk id="9" creationId="{00000000-0000-0000-0000-000000000000}"/>
          </ac:graphicFrameMkLst>
        </pc:graphicFrameChg>
      </pc:sldChg>
      <pc:sldChg chg="modSp mod">
        <pc:chgData name="Meyer Raphael (PAR-ES)" userId="79615dfe-ed48-4e74-a40f-4f7b034c1c27" providerId="ADAL" clId="{DE7C88A0-74DE-46DA-9412-192AAB9D7595}" dt="2021-11-08T11:21:13.895" v="201" actId="1035"/>
        <pc:sldMkLst>
          <pc:docMk/>
          <pc:sldMk cId="1065586608" sldId="273"/>
        </pc:sldMkLst>
        <pc:spChg chg="mod">
          <ac:chgData name="Meyer Raphael (PAR-ES)" userId="79615dfe-ed48-4e74-a40f-4f7b034c1c27" providerId="ADAL" clId="{DE7C88A0-74DE-46DA-9412-192AAB9D7595}" dt="2021-11-08T11:20:11.550" v="169" actId="20577"/>
          <ac:spMkLst>
            <pc:docMk/>
            <pc:sldMk cId="1065586608" sldId="273"/>
            <ac:spMk id="2" creationId="{00000000-0000-0000-0000-000000000000}"/>
          </ac:spMkLst>
        </pc:spChg>
        <pc:spChg chg="mod">
          <ac:chgData name="Meyer Raphael (PAR-ES)" userId="79615dfe-ed48-4e74-a40f-4f7b034c1c27" providerId="ADAL" clId="{DE7C88A0-74DE-46DA-9412-192AAB9D7595}" dt="2021-11-08T11:17:28.932" v="120" actId="207"/>
          <ac:spMkLst>
            <pc:docMk/>
            <pc:sldMk cId="1065586608" sldId="273"/>
            <ac:spMk id="3" creationId="{00000000-0000-0000-0000-000000000000}"/>
          </ac:spMkLst>
        </pc:spChg>
        <pc:spChg chg="mod">
          <ac:chgData name="Meyer Raphael (PAR-ES)" userId="79615dfe-ed48-4e74-a40f-4f7b034c1c27" providerId="ADAL" clId="{DE7C88A0-74DE-46DA-9412-192AAB9D7595}" dt="2021-11-08T11:21:13.895" v="201" actId="1035"/>
          <ac:spMkLst>
            <pc:docMk/>
            <pc:sldMk cId="1065586608" sldId="273"/>
            <ac:spMk id="6" creationId="{E0F162F0-F370-43B9-9CC4-2142C851FD99}"/>
          </ac:spMkLst>
        </pc:spChg>
        <pc:spChg chg="mod">
          <ac:chgData name="Meyer Raphael (PAR-ES)" userId="79615dfe-ed48-4e74-a40f-4f7b034c1c27" providerId="ADAL" clId="{DE7C88A0-74DE-46DA-9412-192AAB9D7595}" dt="2021-11-08T11:20:21.088" v="170" actId="6549"/>
          <ac:spMkLst>
            <pc:docMk/>
            <pc:sldMk cId="1065586608" sldId="273"/>
            <ac:spMk id="7" creationId="{79CA5D86-E4EE-4B06-939E-8A7198BAD8B9}"/>
          </ac:spMkLst>
        </pc:spChg>
        <pc:graphicFrameChg chg="mod">
          <ac:chgData name="Meyer Raphael (PAR-ES)" userId="79615dfe-ed48-4e74-a40f-4f7b034c1c27" providerId="ADAL" clId="{DE7C88A0-74DE-46DA-9412-192AAB9D7595}" dt="2021-11-08T11:20:57.540" v="174" actId="404"/>
          <ac:graphicFrameMkLst>
            <pc:docMk/>
            <pc:sldMk cId="1065586608" sldId="273"/>
            <ac:graphicFrameMk id="9" creationId="{00000000-0000-0000-0000-000000000000}"/>
          </ac:graphicFrameMkLst>
        </pc:graphicFrameChg>
      </pc:sldChg>
      <pc:sldChg chg="del">
        <pc:chgData name="Meyer Raphael (PAR-ES)" userId="79615dfe-ed48-4e74-a40f-4f7b034c1c27" providerId="ADAL" clId="{DE7C88A0-74DE-46DA-9412-192AAB9D7595}" dt="2021-11-08T10:59:24.534" v="0" actId="2696"/>
        <pc:sldMkLst>
          <pc:docMk/>
          <pc:sldMk cId="2540367841" sldId="274"/>
        </pc:sldMkLst>
      </pc:sldChg>
    </pc:docChg>
  </pc:docChgLst>
  <pc:docChgLst>
    <pc:chgData name="Weigel Stefan (PAR-ES)" userId="fd3b2067-2981-4ad8-bf3a-d2e1004e4fa8" providerId="ADAL" clId="{810092A7-32AC-41E8-9C31-9700D54B766C}"/>
    <pc:docChg chg="modSld">
      <pc:chgData name="Weigel Stefan (PAR-ES)" userId="fd3b2067-2981-4ad8-bf3a-d2e1004e4fa8" providerId="ADAL" clId="{810092A7-32AC-41E8-9C31-9700D54B766C}" dt="2021-09-03T09:16:09.993" v="613" actId="1038"/>
      <pc:docMkLst>
        <pc:docMk/>
      </pc:docMkLst>
      <pc:sldChg chg="modSp mod">
        <pc:chgData name="Weigel Stefan (PAR-ES)" userId="fd3b2067-2981-4ad8-bf3a-d2e1004e4fa8" providerId="ADAL" clId="{810092A7-32AC-41E8-9C31-9700D54B766C}" dt="2021-09-03T09:13:19.810" v="559" actId="1038"/>
        <pc:sldMkLst>
          <pc:docMk/>
          <pc:sldMk cId="1495152177" sldId="298"/>
        </pc:sldMkLst>
        <pc:spChg chg="mod">
          <ac:chgData name="Weigel Stefan (PAR-ES)" userId="fd3b2067-2981-4ad8-bf3a-d2e1004e4fa8" providerId="ADAL" clId="{810092A7-32AC-41E8-9C31-9700D54B766C}" dt="2021-09-03T09:13:19.810" v="559" actId="1038"/>
          <ac:spMkLst>
            <pc:docMk/>
            <pc:sldMk cId="1495152177" sldId="298"/>
            <ac:spMk id="12" creationId="{970D2C07-63A2-4265-B006-56F685FE80A5}"/>
          </ac:spMkLst>
        </pc:spChg>
        <pc:spChg chg="mod">
          <ac:chgData name="Weigel Stefan (PAR-ES)" userId="fd3b2067-2981-4ad8-bf3a-d2e1004e4fa8" providerId="ADAL" clId="{810092A7-32AC-41E8-9C31-9700D54B766C}" dt="2021-09-03T09:13:19.810" v="559" actId="1038"/>
          <ac:spMkLst>
            <pc:docMk/>
            <pc:sldMk cId="1495152177" sldId="298"/>
            <ac:spMk id="13" creationId="{93412675-62AA-41D8-997C-4E877ED953A8}"/>
          </ac:spMkLst>
        </pc:spChg>
        <pc:graphicFrameChg chg="mod modGraphic">
          <ac:chgData name="Weigel Stefan (PAR-ES)" userId="fd3b2067-2981-4ad8-bf3a-d2e1004e4fa8" providerId="ADAL" clId="{810092A7-32AC-41E8-9C31-9700D54B766C}" dt="2021-09-03T09:10:15.777" v="531" actId="20577"/>
          <ac:graphicFrameMkLst>
            <pc:docMk/>
            <pc:sldMk cId="1495152177" sldId="298"/>
            <ac:graphicFrameMk id="9" creationId="{E1369C63-C4A7-403B-A03F-B004599F910A}"/>
          </ac:graphicFrameMkLst>
        </pc:graphicFrameChg>
        <pc:cxnChg chg="mod">
          <ac:chgData name="Weigel Stefan (PAR-ES)" userId="fd3b2067-2981-4ad8-bf3a-d2e1004e4fa8" providerId="ADAL" clId="{810092A7-32AC-41E8-9C31-9700D54B766C}" dt="2021-09-03T09:13:19.810" v="559" actId="1038"/>
          <ac:cxnSpMkLst>
            <pc:docMk/>
            <pc:sldMk cId="1495152177" sldId="298"/>
            <ac:cxnSpMk id="8" creationId="{6F3EB9D3-E612-42D9-859B-1905BD876C26}"/>
          </ac:cxnSpMkLst>
        </pc:cxnChg>
      </pc:sldChg>
      <pc:sldChg chg="modSp mod">
        <pc:chgData name="Weigel Stefan (PAR-ES)" userId="fd3b2067-2981-4ad8-bf3a-d2e1004e4fa8" providerId="ADAL" clId="{810092A7-32AC-41E8-9C31-9700D54B766C}" dt="2021-09-03T09:14:42.160" v="585" actId="1038"/>
        <pc:sldMkLst>
          <pc:docMk/>
          <pc:sldMk cId="3590012689" sldId="365"/>
        </pc:sldMkLst>
        <pc:spChg chg="mod">
          <ac:chgData name="Weigel Stefan (PAR-ES)" userId="fd3b2067-2981-4ad8-bf3a-d2e1004e4fa8" providerId="ADAL" clId="{810092A7-32AC-41E8-9C31-9700D54B766C}" dt="2021-09-03T09:14:42.160" v="585" actId="1038"/>
          <ac:spMkLst>
            <pc:docMk/>
            <pc:sldMk cId="3590012689" sldId="365"/>
            <ac:spMk id="12" creationId="{970D2C07-63A2-4265-B006-56F685FE80A5}"/>
          </ac:spMkLst>
        </pc:spChg>
        <pc:spChg chg="mod">
          <ac:chgData name="Weigel Stefan (PAR-ES)" userId="fd3b2067-2981-4ad8-bf3a-d2e1004e4fa8" providerId="ADAL" clId="{810092A7-32AC-41E8-9C31-9700D54B766C}" dt="2021-09-03T09:14:42.160" v="585" actId="1038"/>
          <ac:spMkLst>
            <pc:docMk/>
            <pc:sldMk cId="3590012689" sldId="365"/>
            <ac:spMk id="13" creationId="{93412675-62AA-41D8-997C-4E877ED953A8}"/>
          </ac:spMkLst>
        </pc:spChg>
        <pc:graphicFrameChg chg="mod modGraphic">
          <ac:chgData name="Weigel Stefan (PAR-ES)" userId="fd3b2067-2981-4ad8-bf3a-d2e1004e4fa8" providerId="ADAL" clId="{810092A7-32AC-41E8-9C31-9700D54B766C}" dt="2021-09-03T09:10:26.410" v="532"/>
          <ac:graphicFrameMkLst>
            <pc:docMk/>
            <pc:sldMk cId="3590012689" sldId="365"/>
            <ac:graphicFrameMk id="9" creationId="{E1369C63-C4A7-403B-A03F-B004599F910A}"/>
          </ac:graphicFrameMkLst>
        </pc:graphicFrameChg>
        <pc:cxnChg chg="mod">
          <ac:chgData name="Weigel Stefan (PAR-ES)" userId="fd3b2067-2981-4ad8-bf3a-d2e1004e4fa8" providerId="ADAL" clId="{810092A7-32AC-41E8-9C31-9700D54B766C}" dt="2021-09-03T09:14:42.160" v="585" actId="1038"/>
          <ac:cxnSpMkLst>
            <pc:docMk/>
            <pc:sldMk cId="3590012689" sldId="365"/>
            <ac:cxnSpMk id="8" creationId="{6F3EB9D3-E612-42D9-859B-1905BD876C26}"/>
          </ac:cxnSpMkLst>
        </pc:cxnChg>
      </pc:sldChg>
      <pc:sldChg chg="modSp mod">
        <pc:chgData name="Weigel Stefan (PAR-ES)" userId="fd3b2067-2981-4ad8-bf3a-d2e1004e4fa8" providerId="ADAL" clId="{810092A7-32AC-41E8-9C31-9700D54B766C}" dt="2021-09-03T09:16:09.993" v="613" actId="1038"/>
        <pc:sldMkLst>
          <pc:docMk/>
          <pc:sldMk cId="689864941" sldId="366"/>
        </pc:sldMkLst>
        <pc:spChg chg="mod">
          <ac:chgData name="Weigel Stefan (PAR-ES)" userId="fd3b2067-2981-4ad8-bf3a-d2e1004e4fa8" providerId="ADAL" clId="{810092A7-32AC-41E8-9C31-9700D54B766C}" dt="2021-09-03T09:16:09.993" v="613" actId="1038"/>
          <ac:spMkLst>
            <pc:docMk/>
            <pc:sldMk cId="689864941" sldId="366"/>
            <ac:spMk id="12" creationId="{970D2C07-63A2-4265-B006-56F685FE80A5}"/>
          </ac:spMkLst>
        </pc:spChg>
        <pc:spChg chg="mod">
          <ac:chgData name="Weigel Stefan (PAR-ES)" userId="fd3b2067-2981-4ad8-bf3a-d2e1004e4fa8" providerId="ADAL" clId="{810092A7-32AC-41E8-9C31-9700D54B766C}" dt="2021-09-03T09:16:09.993" v="613" actId="1038"/>
          <ac:spMkLst>
            <pc:docMk/>
            <pc:sldMk cId="689864941" sldId="366"/>
            <ac:spMk id="13" creationId="{93412675-62AA-41D8-997C-4E877ED953A8}"/>
          </ac:spMkLst>
        </pc:spChg>
        <pc:graphicFrameChg chg="mod modGraphic">
          <ac:chgData name="Weigel Stefan (PAR-ES)" userId="fd3b2067-2981-4ad8-bf3a-d2e1004e4fa8" providerId="ADAL" clId="{810092A7-32AC-41E8-9C31-9700D54B766C}" dt="2021-09-03T09:10:31.293" v="533"/>
          <ac:graphicFrameMkLst>
            <pc:docMk/>
            <pc:sldMk cId="689864941" sldId="366"/>
            <ac:graphicFrameMk id="9" creationId="{E1369C63-C4A7-403B-A03F-B004599F910A}"/>
          </ac:graphicFrameMkLst>
        </pc:graphicFrameChg>
        <pc:cxnChg chg="mod">
          <ac:chgData name="Weigel Stefan (PAR-ES)" userId="fd3b2067-2981-4ad8-bf3a-d2e1004e4fa8" providerId="ADAL" clId="{810092A7-32AC-41E8-9C31-9700D54B766C}" dt="2021-09-03T09:16:09.993" v="613" actId="1038"/>
          <ac:cxnSpMkLst>
            <pc:docMk/>
            <pc:sldMk cId="689864941" sldId="366"/>
            <ac:cxnSpMk id="8" creationId="{6F3EB9D3-E612-42D9-859B-1905BD876C26}"/>
          </ac:cxnSpMkLst>
        </pc:cxnChg>
      </pc:sldChg>
    </pc:docChg>
  </pc:docChgLst>
  <pc:docChgLst>
    <pc:chgData name="Meyer Raphael (PAR-ES)" userId="79615dfe-ed48-4e74-a40f-4f7b034c1c27" providerId="ADAL" clId="{BBB1A706-ED97-4FE3-A763-5C40A5C5E6DA}"/>
    <pc:docChg chg="custSel addSld delSld modSld sldOrd">
      <pc:chgData name="Meyer Raphael (PAR-ES)" userId="79615dfe-ed48-4e74-a40f-4f7b034c1c27" providerId="ADAL" clId="{BBB1A706-ED97-4FE3-A763-5C40A5C5E6DA}" dt="2021-04-01T06:53:05.185" v="95" actId="27918"/>
      <pc:docMkLst>
        <pc:docMk/>
      </pc:docMkLst>
      <pc:sldChg chg="modSp mod">
        <pc:chgData name="Meyer Raphael (PAR-ES)" userId="79615dfe-ed48-4e74-a40f-4f7b034c1c27" providerId="ADAL" clId="{BBB1A706-ED97-4FE3-A763-5C40A5C5E6DA}" dt="2021-04-01T06:53:05.185" v="95" actId="27918"/>
        <pc:sldMkLst>
          <pc:docMk/>
          <pc:sldMk cId="1667945532" sldId="306"/>
        </pc:sldMkLst>
        <pc:spChg chg="mod">
          <ac:chgData name="Meyer Raphael (PAR-ES)" userId="79615dfe-ed48-4e74-a40f-4f7b034c1c27" providerId="ADAL" clId="{BBB1A706-ED97-4FE3-A763-5C40A5C5E6DA}" dt="2021-04-01T06:45:09.863" v="38" actId="20577"/>
          <ac:spMkLst>
            <pc:docMk/>
            <pc:sldMk cId="1667945532" sldId="306"/>
            <ac:spMk id="8" creationId="{5857C2A1-2CB8-4D4A-AEFD-E809BF73D04F}"/>
          </ac:spMkLst>
        </pc:spChg>
        <pc:spChg chg="mod">
          <ac:chgData name="Meyer Raphael (PAR-ES)" userId="79615dfe-ed48-4e74-a40f-4f7b034c1c27" providerId="ADAL" clId="{BBB1A706-ED97-4FE3-A763-5C40A5C5E6DA}" dt="2021-04-01T06:45:12.935" v="40" actId="20577"/>
          <ac:spMkLst>
            <pc:docMk/>
            <pc:sldMk cId="1667945532" sldId="306"/>
            <ac:spMk id="27" creationId="{46A6B042-39EE-4A58-BBAA-13D52264B660}"/>
          </ac:spMkLst>
        </pc:spChg>
        <pc:spChg chg="mod">
          <ac:chgData name="Meyer Raphael (PAR-ES)" userId="79615dfe-ed48-4e74-a40f-4f7b034c1c27" providerId="ADAL" clId="{BBB1A706-ED97-4FE3-A763-5C40A5C5E6DA}" dt="2021-04-01T06:42:38.023" v="17" actId="20577"/>
          <ac:spMkLst>
            <pc:docMk/>
            <pc:sldMk cId="1667945532" sldId="306"/>
            <ac:spMk id="31" creationId="{7491A47D-CAD4-478D-8F3A-296FFCB799F9}"/>
          </ac:spMkLst>
        </pc:spChg>
      </pc:sldChg>
      <pc:sldChg chg="del">
        <pc:chgData name="Meyer Raphael (PAR-ES)" userId="79615dfe-ed48-4e74-a40f-4f7b034c1c27" providerId="ADAL" clId="{BBB1A706-ED97-4FE3-A763-5C40A5C5E6DA}" dt="2021-04-01T06:49:45.726" v="72" actId="2696"/>
        <pc:sldMkLst>
          <pc:docMk/>
          <pc:sldMk cId="205331994" sldId="340"/>
        </pc:sldMkLst>
      </pc:sldChg>
      <pc:sldChg chg="del">
        <pc:chgData name="Meyer Raphael (PAR-ES)" userId="79615dfe-ed48-4e74-a40f-4f7b034c1c27" providerId="ADAL" clId="{BBB1A706-ED97-4FE3-A763-5C40A5C5E6DA}" dt="2021-04-01T06:51:41.230" v="81" actId="2696"/>
        <pc:sldMkLst>
          <pc:docMk/>
          <pc:sldMk cId="3020850231" sldId="341"/>
        </pc:sldMkLst>
      </pc:sldChg>
      <pc:sldChg chg="addSp delSp modSp add mod ord">
        <pc:chgData name="Meyer Raphael (PAR-ES)" userId="79615dfe-ed48-4e74-a40f-4f7b034c1c27" providerId="ADAL" clId="{BBB1A706-ED97-4FE3-A763-5C40A5C5E6DA}" dt="2021-04-01T06:49:21.365" v="71"/>
        <pc:sldMkLst>
          <pc:docMk/>
          <pc:sldMk cId="2400256824" sldId="342"/>
        </pc:sldMkLst>
        <pc:spChg chg="mod">
          <ac:chgData name="Meyer Raphael (PAR-ES)" userId="79615dfe-ed48-4e74-a40f-4f7b034c1c27" providerId="ADAL" clId="{BBB1A706-ED97-4FE3-A763-5C40A5C5E6DA}" dt="2021-04-01T06:48:21.854" v="65"/>
          <ac:spMkLst>
            <pc:docMk/>
            <pc:sldMk cId="2400256824" sldId="342"/>
            <ac:spMk id="2" creationId="{A2DC317F-F1F4-4624-8FC1-3B68C1DBB3DA}"/>
          </ac:spMkLst>
        </pc:spChg>
        <pc:spChg chg="del">
          <ac:chgData name="Meyer Raphael (PAR-ES)" userId="79615dfe-ed48-4e74-a40f-4f7b034c1c27" providerId="ADAL" clId="{BBB1A706-ED97-4FE3-A763-5C40A5C5E6DA}" dt="2021-04-01T06:48:40.174" v="67" actId="478"/>
          <ac:spMkLst>
            <pc:docMk/>
            <pc:sldMk cId="2400256824" sldId="342"/>
            <ac:spMk id="7" creationId="{BA3F9A72-0541-4D1F-8CD8-1C2B8074FA1B}"/>
          </ac:spMkLst>
        </pc:spChg>
        <pc:spChg chg="mod">
          <ac:chgData name="Meyer Raphael (PAR-ES)" userId="79615dfe-ed48-4e74-a40f-4f7b034c1c27" providerId="ADAL" clId="{BBB1A706-ED97-4FE3-A763-5C40A5C5E6DA}" dt="2021-04-01T06:49:04.849" v="70" actId="14100"/>
          <ac:spMkLst>
            <pc:docMk/>
            <pc:sldMk cId="2400256824" sldId="342"/>
            <ac:spMk id="8" creationId="{5857C2A1-2CB8-4D4A-AEFD-E809BF73D04F}"/>
          </ac:spMkLst>
        </pc:spChg>
        <pc:spChg chg="del">
          <ac:chgData name="Meyer Raphael (PAR-ES)" userId="79615dfe-ed48-4e74-a40f-4f7b034c1c27" providerId="ADAL" clId="{BBB1A706-ED97-4FE3-A763-5C40A5C5E6DA}" dt="2021-04-01T06:48:40.174" v="67" actId="478"/>
          <ac:spMkLst>
            <pc:docMk/>
            <pc:sldMk cId="2400256824" sldId="342"/>
            <ac:spMk id="9" creationId="{B6990B61-32B2-4ADC-BF01-EDF7B4080F97}"/>
          </ac:spMkLst>
        </pc:spChg>
        <pc:spChg chg="mod">
          <ac:chgData name="Meyer Raphael (PAR-ES)" userId="79615dfe-ed48-4e74-a40f-4f7b034c1c27" providerId="ADAL" clId="{BBB1A706-ED97-4FE3-A763-5C40A5C5E6DA}" dt="2021-04-01T06:48:29.914" v="66"/>
          <ac:spMkLst>
            <pc:docMk/>
            <pc:sldMk cId="2400256824" sldId="342"/>
            <ac:spMk id="10" creationId="{077DFD58-E5EE-4B68-9325-D935DB04DD40}"/>
          </ac:spMkLst>
        </pc:spChg>
        <pc:spChg chg="del">
          <ac:chgData name="Meyer Raphael (PAR-ES)" userId="79615dfe-ed48-4e74-a40f-4f7b034c1c27" providerId="ADAL" clId="{BBB1A706-ED97-4FE3-A763-5C40A5C5E6DA}" dt="2021-04-01T06:48:40.174" v="67" actId="478"/>
          <ac:spMkLst>
            <pc:docMk/>
            <pc:sldMk cId="2400256824" sldId="342"/>
            <ac:spMk id="17" creationId="{785E740C-F94A-4208-8DFD-63A603C16577}"/>
          </ac:spMkLst>
        </pc:spChg>
        <pc:spChg chg="add mod">
          <ac:chgData name="Meyer Raphael (PAR-ES)" userId="79615dfe-ed48-4e74-a40f-4f7b034c1c27" providerId="ADAL" clId="{BBB1A706-ED97-4FE3-A763-5C40A5C5E6DA}" dt="2021-04-01T06:48:54.428" v="68"/>
          <ac:spMkLst>
            <pc:docMk/>
            <pc:sldMk cId="2400256824" sldId="342"/>
            <ac:spMk id="21" creationId="{41184D5F-FBBF-4CD3-B75D-763BCF9F6AB5}"/>
          </ac:spMkLst>
        </pc:spChg>
        <pc:spChg chg="add mod">
          <ac:chgData name="Meyer Raphael (PAR-ES)" userId="79615dfe-ed48-4e74-a40f-4f7b034c1c27" providerId="ADAL" clId="{BBB1A706-ED97-4FE3-A763-5C40A5C5E6DA}" dt="2021-04-01T06:48:54.428" v="68"/>
          <ac:spMkLst>
            <pc:docMk/>
            <pc:sldMk cId="2400256824" sldId="342"/>
            <ac:spMk id="22" creationId="{AE1BFC7B-96D4-49BC-AF45-A7209D376ACE}"/>
          </ac:spMkLst>
        </pc:spChg>
        <pc:spChg chg="add mod">
          <ac:chgData name="Meyer Raphael (PAR-ES)" userId="79615dfe-ed48-4e74-a40f-4f7b034c1c27" providerId="ADAL" clId="{BBB1A706-ED97-4FE3-A763-5C40A5C5E6DA}" dt="2021-04-01T06:48:54.428" v="68"/>
          <ac:spMkLst>
            <pc:docMk/>
            <pc:sldMk cId="2400256824" sldId="342"/>
            <ac:spMk id="23" creationId="{E1D06205-E8E0-4170-9E41-59DD1AD15781}"/>
          </ac:spMkLst>
        </pc:spChg>
        <pc:spChg chg="add mod">
          <ac:chgData name="Meyer Raphael (PAR-ES)" userId="79615dfe-ed48-4e74-a40f-4f7b034c1c27" providerId="ADAL" clId="{BBB1A706-ED97-4FE3-A763-5C40A5C5E6DA}" dt="2021-04-01T06:48:54.428" v="68"/>
          <ac:spMkLst>
            <pc:docMk/>
            <pc:sldMk cId="2400256824" sldId="342"/>
            <ac:spMk id="25" creationId="{9A5F5775-CBDF-482E-B9BE-416BC6E92517}"/>
          </ac:spMkLst>
        </pc:spChg>
        <pc:spChg chg="del">
          <ac:chgData name="Meyer Raphael (PAR-ES)" userId="79615dfe-ed48-4e74-a40f-4f7b034c1c27" providerId="ADAL" clId="{BBB1A706-ED97-4FE3-A763-5C40A5C5E6DA}" dt="2021-04-01T06:48:40.174" v="67" actId="478"/>
          <ac:spMkLst>
            <pc:docMk/>
            <pc:sldMk cId="2400256824" sldId="342"/>
            <ac:spMk id="26" creationId="{BFD498B5-D73E-4C8A-9FAF-B3547647538C}"/>
          </ac:spMkLst>
        </pc:spChg>
        <pc:spChg chg="mod">
          <ac:chgData name="Meyer Raphael (PAR-ES)" userId="79615dfe-ed48-4e74-a40f-4f7b034c1c27" providerId="ADAL" clId="{BBB1A706-ED97-4FE3-A763-5C40A5C5E6DA}" dt="2021-04-01T06:49:21.365" v="71"/>
          <ac:spMkLst>
            <pc:docMk/>
            <pc:sldMk cId="2400256824" sldId="342"/>
            <ac:spMk id="27" creationId="{46A6B042-39EE-4A58-BBAA-13D52264B660}"/>
          </ac:spMkLst>
        </pc:spChg>
      </pc:sldChg>
      <pc:sldChg chg="addSp delSp modSp add mod ord">
        <pc:chgData name="Meyer Raphael (PAR-ES)" userId="79615dfe-ed48-4e74-a40f-4f7b034c1c27" providerId="ADAL" clId="{BBB1A706-ED97-4FE3-A763-5C40A5C5E6DA}" dt="2021-04-01T06:50:52.022" v="80" actId="14100"/>
        <pc:sldMkLst>
          <pc:docMk/>
          <pc:sldMk cId="684558250" sldId="343"/>
        </pc:sldMkLst>
        <pc:spChg chg="mod">
          <ac:chgData name="Meyer Raphael (PAR-ES)" userId="79615dfe-ed48-4e74-a40f-4f7b034c1c27" providerId="ADAL" clId="{BBB1A706-ED97-4FE3-A763-5C40A5C5E6DA}" dt="2021-04-01T06:50:20.052" v="75"/>
          <ac:spMkLst>
            <pc:docMk/>
            <pc:sldMk cId="684558250" sldId="343"/>
            <ac:spMk id="2" creationId="{A2DC317F-F1F4-4624-8FC1-3B68C1DBB3DA}"/>
          </ac:spMkLst>
        </pc:spChg>
        <pc:spChg chg="del">
          <ac:chgData name="Meyer Raphael (PAR-ES)" userId="79615dfe-ed48-4e74-a40f-4f7b034c1c27" providerId="ADAL" clId="{BBB1A706-ED97-4FE3-A763-5C40A5C5E6DA}" dt="2021-04-01T06:49:55.546" v="73" actId="478"/>
          <ac:spMkLst>
            <pc:docMk/>
            <pc:sldMk cId="684558250" sldId="343"/>
            <ac:spMk id="7" creationId="{BA3F9A72-0541-4D1F-8CD8-1C2B8074FA1B}"/>
          </ac:spMkLst>
        </pc:spChg>
        <pc:spChg chg="mod">
          <ac:chgData name="Meyer Raphael (PAR-ES)" userId="79615dfe-ed48-4e74-a40f-4f7b034c1c27" providerId="ADAL" clId="{BBB1A706-ED97-4FE3-A763-5C40A5C5E6DA}" dt="2021-04-01T06:50:38.479" v="78" actId="14100"/>
          <ac:spMkLst>
            <pc:docMk/>
            <pc:sldMk cId="684558250" sldId="343"/>
            <ac:spMk id="8" creationId="{5857C2A1-2CB8-4D4A-AEFD-E809BF73D04F}"/>
          </ac:spMkLst>
        </pc:spChg>
        <pc:spChg chg="del">
          <ac:chgData name="Meyer Raphael (PAR-ES)" userId="79615dfe-ed48-4e74-a40f-4f7b034c1c27" providerId="ADAL" clId="{BBB1A706-ED97-4FE3-A763-5C40A5C5E6DA}" dt="2021-04-01T06:49:55.546" v="73" actId="478"/>
          <ac:spMkLst>
            <pc:docMk/>
            <pc:sldMk cId="684558250" sldId="343"/>
            <ac:spMk id="9" creationId="{B6990B61-32B2-4ADC-BF01-EDF7B4080F97}"/>
          </ac:spMkLst>
        </pc:spChg>
        <pc:spChg chg="mod">
          <ac:chgData name="Meyer Raphael (PAR-ES)" userId="79615dfe-ed48-4e74-a40f-4f7b034c1c27" providerId="ADAL" clId="{BBB1A706-ED97-4FE3-A763-5C40A5C5E6DA}" dt="2021-04-01T06:50:29.235" v="76"/>
          <ac:spMkLst>
            <pc:docMk/>
            <pc:sldMk cId="684558250" sldId="343"/>
            <ac:spMk id="10" creationId="{077DFD58-E5EE-4B68-9325-D935DB04DD40}"/>
          </ac:spMkLst>
        </pc:spChg>
        <pc:spChg chg="del">
          <ac:chgData name="Meyer Raphael (PAR-ES)" userId="79615dfe-ed48-4e74-a40f-4f7b034c1c27" providerId="ADAL" clId="{BBB1A706-ED97-4FE3-A763-5C40A5C5E6DA}" dt="2021-04-01T06:49:55.546" v="73" actId="478"/>
          <ac:spMkLst>
            <pc:docMk/>
            <pc:sldMk cId="684558250" sldId="343"/>
            <ac:spMk id="17" creationId="{785E740C-F94A-4208-8DFD-63A603C16577}"/>
          </ac:spMkLst>
        </pc:spChg>
        <pc:spChg chg="add mod">
          <ac:chgData name="Meyer Raphael (PAR-ES)" userId="79615dfe-ed48-4e74-a40f-4f7b034c1c27" providerId="ADAL" clId="{BBB1A706-ED97-4FE3-A763-5C40A5C5E6DA}" dt="2021-04-01T06:50:07.783" v="74"/>
          <ac:spMkLst>
            <pc:docMk/>
            <pc:sldMk cId="684558250" sldId="343"/>
            <ac:spMk id="21" creationId="{EE24A48E-A591-46C5-9789-694EC6B95109}"/>
          </ac:spMkLst>
        </pc:spChg>
        <pc:spChg chg="add mod">
          <ac:chgData name="Meyer Raphael (PAR-ES)" userId="79615dfe-ed48-4e74-a40f-4f7b034c1c27" providerId="ADAL" clId="{BBB1A706-ED97-4FE3-A763-5C40A5C5E6DA}" dt="2021-04-01T06:50:07.783" v="74"/>
          <ac:spMkLst>
            <pc:docMk/>
            <pc:sldMk cId="684558250" sldId="343"/>
            <ac:spMk id="22" creationId="{C5B0A92E-1DBA-4171-BB2B-45DB22E436BD}"/>
          </ac:spMkLst>
        </pc:spChg>
        <pc:spChg chg="add mod">
          <ac:chgData name="Meyer Raphael (PAR-ES)" userId="79615dfe-ed48-4e74-a40f-4f7b034c1c27" providerId="ADAL" clId="{BBB1A706-ED97-4FE3-A763-5C40A5C5E6DA}" dt="2021-04-01T06:50:07.783" v="74"/>
          <ac:spMkLst>
            <pc:docMk/>
            <pc:sldMk cId="684558250" sldId="343"/>
            <ac:spMk id="23" creationId="{ECA89489-F401-4596-8DF3-789301017FA9}"/>
          </ac:spMkLst>
        </pc:spChg>
        <pc:spChg chg="add mod">
          <ac:chgData name="Meyer Raphael (PAR-ES)" userId="79615dfe-ed48-4e74-a40f-4f7b034c1c27" providerId="ADAL" clId="{BBB1A706-ED97-4FE3-A763-5C40A5C5E6DA}" dt="2021-04-01T06:50:07.783" v="74"/>
          <ac:spMkLst>
            <pc:docMk/>
            <pc:sldMk cId="684558250" sldId="343"/>
            <ac:spMk id="25" creationId="{F70186C3-6432-4C78-8474-9E1B8C2E3799}"/>
          </ac:spMkLst>
        </pc:spChg>
        <pc:spChg chg="del">
          <ac:chgData name="Meyer Raphael (PAR-ES)" userId="79615dfe-ed48-4e74-a40f-4f7b034c1c27" providerId="ADAL" clId="{BBB1A706-ED97-4FE3-A763-5C40A5C5E6DA}" dt="2021-04-01T06:49:55.546" v="73" actId="478"/>
          <ac:spMkLst>
            <pc:docMk/>
            <pc:sldMk cId="684558250" sldId="343"/>
            <ac:spMk id="26" creationId="{BFD498B5-D73E-4C8A-9FAF-B3547647538C}"/>
          </ac:spMkLst>
        </pc:spChg>
        <pc:spChg chg="mod">
          <ac:chgData name="Meyer Raphael (PAR-ES)" userId="79615dfe-ed48-4e74-a40f-4f7b034c1c27" providerId="ADAL" clId="{BBB1A706-ED97-4FE3-A763-5C40A5C5E6DA}" dt="2021-04-01T06:50:52.022" v="80" actId="14100"/>
          <ac:spMkLst>
            <pc:docMk/>
            <pc:sldMk cId="684558250" sldId="343"/>
            <ac:spMk id="27" creationId="{46A6B042-39EE-4A58-BBAA-13D52264B660}"/>
          </ac:spMkLst>
        </pc:spChg>
      </pc:sldChg>
    </pc:docChg>
  </pc:docChgLst>
  <pc:docChgLst>
    <pc:chgData name="Meyer Raphael (PAR-ES)" userId="79615dfe-ed48-4e74-a40f-4f7b034c1c27" providerId="ADAL" clId="{38AF8AF8-3015-4A40-885D-1810E82E92DA}"/>
    <pc:docChg chg="delSld">
      <pc:chgData name="Meyer Raphael (PAR-ES)" userId="79615dfe-ed48-4e74-a40f-4f7b034c1c27" providerId="ADAL" clId="{38AF8AF8-3015-4A40-885D-1810E82E92DA}" dt="2022-03-09T15:47:26.635" v="0" actId="47"/>
      <pc:docMkLst>
        <pc:docMk/>
      </pc:docMkLst>
      <pc:sldChg chg="del">
        <pc:chgData name="Meyer Raphael (PAR-ES)" userId="79615dfe-ed48-4e74-a40f-4f7b034c1c27" providerId="ADAL" clId="{38AF8AF8-3015-4A40-885D-1810E82E92DA}" dt="2022-03-09T15:47:26.635" v="0" actId="47"/>
        <pc:sldMkLst>
          <pc:docMk/>
          <pc:sldMk cId="2844382326" sldId="415"/>
        </pc:sldMkLst>
      </pc:sldChg>
      <pc:sldChg chg="del">
        <pc:chgData name="Meyer Raphael (PAR-ES)" userId="79615dfe-ed48-4e74-a40f-4f7b034c1c27" providerId="ADAL" clId="{38AF8AF8-3015-4A40-885D-1810E82E92DA}" dt="2022-03-09T15:47:26.635" v="0" actId="47"/>
        <pc:sldMkLst>
          <pc:docMk/>
          <pc:sldMk cId="2251798312" sldId="416"/>
        </pc:sldMkLst>
      </pc:sldChg>
      <pc:sldChg chg="del">
        <pc:chgData name="Meyer Raphael (PAR-ES)" userId="79615dfe-ed48-4e74-a40f-4f7b034c1c27" providerId="ADAL" clId="{38AF8AF8-3015-4A40-885D-1810E82E92DA}" dt="2022-03-09T15:47:26.635" v="0" actId="47"/>
        <pc:sldMkLst>
          <pc:docMk/>
          <pc:sldMk cId="1913231849" sldId="417"/>
        </pc:sldMkLst>
      </pc:sldChg>
    </pc:docChg>
  </pc:docChgLst>
  <pc:docChgLst>
    <pc:chgData name="Meyer Raphael (PAR-ES)" userId="79615dfe-ed48-4e74-a40f-4f7b034c1c27" providerId="ADAL" clId="{0712858C-16EF-4F56-A99A-2501A98C8650}"/>
    <pc:docChg chg="undo custSel addSld modSld">
      <pc:chgData name="Meyer Raphael (PAR-ES)" userId="79615dfe-ed48-4e74-a40f-4f7b034c1c27" providerId="ADAL" clId="{0712858C-16EF-4F56-A99A-2501A98C8650}" dt="2021-10-07T13:56:46.888" v="380" actId="20577"/>
      <pc:docMkLst>
        <pc:docMk/>
      </pc:docMkLst>
      <pc:sldChg chg="addSp modSp mod">
        <pc:chgData name="Meyer Raphael (PAR-ES)" userId="79615dfe-ed48-4e74-a40f-4f7b034c1c27" providerId="ADAL" clId="{0712858C-16EF-4F56-A99A-2501A98C8650}" dt="2021-10-07T10:57:43.139" v="165" actId="1038"/>
        <pc:sldMkLst>
          <pc:docMk/>
          <pc:sldMk cId="2479672112" sldId="369"/>
        </pc:sldMkLst>
        <pc:spChg chg="mod ord">
          <ac:chgData name="Meyer Raphael (PAR-ES)" userId="79615dfe-ed48-4e74-a40f-4f7b034c1c27" providerId="ADAL" clId="{0712858C-16EF-4F56-A99A-2501A98C8650}" dt="2021-10-07T10:57:33.740" v="84" actId="166"/>
          <ac:spMkLst>
            <pc:docMk/>
            <pc:sldMk cId="2479672112" sldId="369"/>
            <ac:spMk id="6" creationId="{0EEE4EA3-E16E-424B-97F9-53A8F5D585AE}"/>
          </ac:spMkLst>
        </pc:spChg>
        <pc:spChg chg="add mod">
          <ac:chgData name="Meyer Raphael (PAR-ES)" userId="79615dfe-ed48-4e74-a40f-4f7b034c1c27" providerId="ADAL" clId="{0712858C-16EF-4F56-A99A-2501A98C8650}" dt="2021-10-07T10:57:43.139" v="165" actId="1038"/>
          <ac:spMkLst>
            <pc:docMk/>
            <pc:sldMk cId="2479672112" sldId="369"/>
            <ac:spMk id="16" creationId="{3730218D-3B66-4C1D-8690-924989D01B0B}"/>
          </ac:spMkLst>
        </pc:spChg>
        <pc:graphicFrameChg chg="mod">
          <ac:chgData name="Meyer Raphael (PAR-ES)" userId="79615dfe-ed48-4e74-a40f-4f7b034c1c27" providerId="ADAL" clId="{0712858C-16EF-4F56-A99A-2501A98C8650}" dt="2021-10-07T10:56:31.888" v="4" actId="1076"/>
          <ac:graphicFrameMkLst>
            <pc:docMk/>
            <pc:sldMk cId="2479672112" sldId="369"/>
            <ac:graphicFrameMk id="5" creationId="{4CF6AB8B-CAB9-4C7E-8E59-E00357A4D7F0}"/>
          </ac:graphicFrameMkLst>
        </pc:graphicFrameChg>
        <pc:graphicFrameChg chg="mod">
          <ac:chgData name="Meyer Raphael (PAR-ES)" userId="79615dfe-ed48-4e74-a40f-4f7b034c1c27" providerId="ADAL" clId="{0712858C-16EF-4F56-A99A-2501A98C8650}" dt="2021-10-07T10:57:14.295" v="83" actId="166"/>
          <ac:graphicFrameMkLst>
            <pc:docMk/>
            <pc:sldMk cId="2479672112" sldId="369"/>
            <ac:graphicFrameMk id="14" creationId="{448E30CC-0B60-4748-AEB6-C3648EB8AB40}"/>
          </ac:graphicFrameMkLst>
        </pc:graphicFrameChg>
      </pc:sldChg>
      <pc:sldChg chg="addSp delSp modSp add mod">
        <pc:chgData name="Meyer Raphael (PAR-ES)" userId="79615dfe-ed48-4e74-a40f-4f7b034c1c27" providerId="ADAL" clId="{0712858C-16EF-4F56-A99A-2501A98C8650}" dt="2021-10-07T13:56:46.888" v="380" actId="20577"/>
        <pc:sldMkLst>
          <pc:docMk/>
          <pc:sldMk cId="3462026173" sldId="370"/>
        </pc:sldMkLst>
        <pc:spChg chg="del mod">
          <ac:chgData name="Meyer Raphael (PAR-ES)" userId="79615dfe-ed48-4e74-a40f-4f7b034c1c27" providerId="ADAL" clId="{0712858C-16EF-4F56-A99A-2501A98C8650}" dt="2021-10-07T13:54:42.877" v="258" actId="478"/>
          <ac:spMkLst>
            <pc:docMk/>
            <pc:sldMk cId="3462026173" sldId="370"/>
            <ac:spMk id="2" creationId="{72711E6E-1416-465E-9A46-D62B6B2FD2A4}"/>
          </ac:spMkLst>
        </pc:spChg>
        <pc:spChg chg="mod">
          <ac:chgData name="Meyer Raphael (PAR-ES)" userId="79615dfe-ed48-4e74-a40f-4f7b034c1c27" providerId="ADAL" clId="{0712858C-16EF-4F56-A99A-2501A98C8650}" dt="2021-10-07T13:53:58.982" v="228" actId="6549"/>
          <ac:spMkLst>
            <pc:docMk/>
            <pc:sldMk cId="3462026173" sldId="370"/>
            <ac:spMk id="3" creationId="{C8768AF4-4D23-49CA-95CE-2763BC39243D}"/>
          </ac:spMkLst>
        </pc:spChg>
        <pc:spChg chg="mod">
          <ac:chgData name="Meyer Raphael (PAR-ES)" userId="79615dfe-ed48-4e74-a40f-4f7b034c1c27" providerId="ADAL" clId="{0712858C-16EF-4F56-A99A-2501A98C8650}" dt="2021-10-07T13:53:44.810" v="227" actId="1076"/>
          <ac:spMkLst>
            <pc:docMk/>
            <pc:sldMk cId="3462026173" sldId="370"/>
            <ac:spMk id="9" creationId="{42AA12ED-4579-4FE5-A07A-BC01B76928FB}"/>
          </ac:spMkLst>
        </pc:spChg>
        <pc:spChg chg="mod">
          <ac:chgData name="Meyer Raphael (PAR-ES)" userId="79615dfe-ed48-4e74-a40f-4f7b034c1c27" providerId="ADAL" clId="{0712858C-16EF-4F56-A99A-2501A98C8650}" dt="2021-10-07T13:52:27.066" v="182" actId="1076"/>
          <ac:spMkLst>
            <pc:docMk/>
            <pc:sldMk cId="3462026173" sldId="370"/>
            <ac:spMk id="12" creationId="{4DA2B71E-2CC2-4C38-BAAB-A71345A07B83}"/>
          </ac:spMkLst>
        </pc:spChg>
        <pc:spChg chg="mod">
          <ac:chgData name="Meyer Raphael (PAR-ES)" userId="79615dfe-ed48-4e74-a40f-4f7b034c1c27" providerId="ADAL" clId="{0712858C-16EF-4F56-A99A-2501A98C8650}" dt="2021-10-07T13:53:00.737" v="190" actId="1076"/>
          <ac:spMkLst>
            <pc:docMk/>
            <pc:sldMk cId="3462026173" sldId="370"/>
            <ac:spMk id="13" creationId="{B946C02A-50DE-42C7-A209-D603829BA4B1}"/>
          </ac:spMkLst>
        </pc:spChg>
        <pc:spChg chg="add del mod">
          <ac:chgData name="Meyer Raphael (PAR-ES)" userId="79615dfe-ed48-4e74-a40f-4f7b034c1c27" providerId="ADAL" clId="{0712858C-16EF-4F56-A99A-2501A98C8650}" dt="2021-10-07T13:54:52.282" v="261" actId="478"/>
          <ac:spMkLst>
            <pc:docMk/>
            <pc:sldMk cId="3462026173" sldId="370"/>
            <ac:spMk id="16" creationId="{CF108DDD-12CA-4DEF-8E2E-F43DE1FB0B06}"/>
          </ac:spMkLst>
        </pc:spChg>
        <pc:spChg chg="add del mod">
          <ac:chgData name="Meyer Raphael (PAR-ES)" userId="79615dfe-ed48-4e74-a40f-4f7b034c1c27" providerId="ADAL" clId="{0712858C-16EF-4F56-A99A-2501A98C8650}" dt="2021-10-07T13:54:47.554" v="260"/>
          <ac:spMkLst>
            <pc:docMk/>
            <pc:sldMk cId="3462026173" sldId="370"/>
            <ac:spMk id="17" creationId="{8C7C0310-CDAE-47DA-8551-E1C76E010A8B}"/>
          </ac:spMkLst>
        </pc:spChg>
        <pc:spChg chg="add del mod">
          <ac:chgData name="Meyer Raphael (PAR-ES)" userId="79615dfe-ed48-4e74-a40f-4f7b034c1c27" providerId="ADAL" clId="{0712858C-16EF-4F56-A99A-2501A98C8650}" dt="2021-10-07T13:54:47.554" v="260"/>
          <ac:spMkLst>
            <pc:docMk/>
            <pc:sldMk cId="3462026173" sldId="370"/>
            <ac:spMk id="18" creationId="{4FB579AC-665E-4EE6-BB19-C3D3977CC220}"/>
          </ac:spMkLst>
        </pc:spChg>
        <pc:spChg chg="add mod">
          <ac:chgData name="Meyer Raphael (PAR-ES)" userId="79615dfe-ed48-4e74-a40f-4f7b034c1c27" providerId="ADAL" clId="{0712858C-16EF-4F56-A99A-2501A98C8650}" dt="2021-10-07T13:55:47.688" v="324" actId="20577"/>
          <ac:spMkLst>
            <pc:docMk/>
            <pc:sldMk cId="3462026173" sldId="370"/>
            <ac:spMk id="19" creationId="{9FB4AF3B-D5AD-4F53-ABB0-E4CE1F5D8E5E}"/>
          </ac:spMkLst>
        </pc:spChg>
        <pc:spChg chg="add mod">
          <ac:chgData name="Meyer Raphael (PAR-ES)" userId="79615dfe-ed48-4e74-a40f-4f7b034c1c27" providerId="ADAL" clId="{0712858C-16EF-4F56-A99A-2501A98C8650}" dt="2021-10-07T13:56:46.888" v="380" actId="20577"/>
          <ac:spMkLst>
            <pc:docMk/>
            <pc:sldMk cId="3462026173" sldId="370"/>
            <ac:spMk id="20" creationId="{6D955C95-B626-44C6-B064-0754E67E37CF}"/>
          </ac:spMkLst>
        </pc:spChg>
        <pc:graphicFrameChg chg="add mod">
          <ac:chgData name="Meyer Raphael (PAR-ES)" userId="79615dfe-ed48-4e74-a40f-4f7b034c1c27" providerId="ADAL" clId="{0712858C-16EF-4F56-A99A-2501A98C8650}" dt="2021-10-07T13:53:07.540" v="192" actId="1076"/>
          <ac:graphicFrameMkLst>
            <pc:docMk/>
            <pc:sldMk cId="3462026173" sldId="370"/>
            <ac:graphicFrameMk id="10" creationId="{E856299E-9B60-478F-8674-1045505692C4}"/>
          </ac:graphicFrameMkLst>
        </pc:graphicFrameChg>
        <pc:picChg chg="del">
          <ac:chgData name="Meyer Raphael (PAR-ES)" userId="79615dfe-ed48-4e74-a40f-4f7b034c1c27" providerId="ADAL" clId="{0712858C-16EF-4F56-A99A-2501A98C8650}" dt="2021-10-07T13:48:23.805" v="167" actId="478"/>
          <ac:picMkLst>
            <pc:docMk/>
            <pc:sldMk cId="3462026173" sldId="370"/>
            <ac:picMk id="15" creationId="{55BD0271-4DD3-43E3-A3B9-E8F00535D21A}"/>
          </ac:picMkLst>
        </pc:picChg>
        <pc:cxnChg chg="mod">
          <ac:chgData name="Meyer Raphael (PAR-ES)" userId="79615dfe-ed48-4e74-a40f-4f7b034c1c27" providerId="ADAL" clId="{0712858C-16EF-4F56-A99A-2501A98C8650}" dt="2021-10-07T13:53:32.433" v="225" actId="14100"/>
          <ac:cxnSpMkLst>
            <pc:docMk/>
            <pc:sldMk cId="3462026173" sldId="370"/>
            <ac:cxnSpMk id="7" creationId="{D77902D2-9169-4095-AF09-B1A9DB2A7B74}"/>
          </ac:cxnSpMkLst>
        </pc:cxnChg>
        <pc:cxnChg chg="mod">
          <ac:chgData name="Meyer Raphael (PAR-ES)" userId="79615dfe-ed48-4e74-a40f-4f7b034c1c27" providerId="ADAL" clId="{0712858C-16EF-4F56-A99A-2501A98C8650}" dt="2021-10-07T13:53:36.676" v="226" actId="14100"/>
          <ac:cxnSpMkLst>
            <pc:docMk/>
            <pc:sldMk cId="3462026173" sldId="370"/>
            <ac:cxnSpMk id="11" creationId="{A9B79FFE-7EB4-42F9-AF46-169C3E5C72D5}"/>
          </ac:cxnSpMkLst>
        </pc:cxnChg>
      </pc:sldChg>
    </pc:docChg>
  </pc:docChgLst>
  <pc:docChgLst>
    <pc:chgData name="Meyer Raphael (PAR-ES)" userId="79615dfe-ed48-4e74-a40f-4f7b034c1c27" providerId="ADAL" clId="{8F7AFD01-8FC7-4C21-BC24-E6066722842E}"/>
    <pc:docChg chg="delSld">
      <pc:chgData name="Meyer Raphael (PAR-ES)" userId="79615dfe-ed48-4e74-a40f-4f7b034c1c27" providerId="ADAL" clId="{8F7AFD01-8FC7-4C21-BC24-E6066722842E}" dt="2021-06-15T07:22:54.651" v="6" actId="2696"/>
      <pc:docMkLst>
        <pc:docMk/>
      </pc:docMkLst>
      <pc:sldChg chg="del">
        <pc:chgData name="Meyer Raphael (PAR-ES)" userId="79615dfe-ed48-4e74-a40f-4f7b034c1c27" providerId="ADAL" clId="{8F7AFD01-8FC7-4C21-BC24-E6066722842E}" dt="2021-06-15T07:22:09.401" v="1" actId="2696"/>
        <pc:sldMkLst>
          <pc:docMk/>
          <pc:sldMk cId="342226240" sldId="295"/>
        </pc:sldMkLst>
      </pc:sldChg>
      <pc:sldChg chg="del">
        <pc:chgData name="Meyer Raphael (PAR-ES)" userId="79615dfe-ed48-4e74-a40f-4f7b034c1c27" providerId="ADAL" clId="{8F7AFD01-8FC7-4C21-BC24-E6066722842E}" dt="2021-06-15T07:22:54.651" v="6" actId="2696"/>
        <pc:sldMkLst>
          <pc:docMk/>
          <pc:sldMk cId="1492035608" sldId="296"/>
        </pc:sldMkLst>
      </pc:sldChg>
      <pc:sldChg chg="del">
        <pc:chgData name="Meyer Raphael (PAR-ES)" userId="79615dfe-ed48-4e74-a40f-4f7b034c1c27" providerId="ADAL" clId="{8F7AFD01-8FC7-4C21-BC24-E6066722842E}" dt="2021-06-15T07:22:03.263" v="0" actId="2696"/>
        <pc:sldMkLst>
          <pc:docMk/>
          <pc:sldMk cId="1670059232" sldId="297"/>
        </pc:sldMkLst>
      </pc:sldChg>
      <pc:sldChg chg="del">
        <pc:chgData name="Meyer Raphael (PAR-ES)" userId="79615dfe-ed48-4e74-a40f-4f7b034c1c27" providerId="ADAL" clId="{8F7AFD01-8FC7-4C21-BC24-E6066722842E}" dt="2021-06-15T07:22:18.041" v="2" actId="2696"/>
        <pc:sldMkLst>
          <pc:docMk/>
          <pc:sldMk cId="1794381502" sldId="301"/>
        </pc:sldMkLst>
      </pc:sldChg>
      <pc:sldChg chg="del">
        <pc:chgData name="Meyer Raphael (PAR-ES)" userId="79615dfe-ed48-4e74-a40f-4f7b034c1c27" providerId="ADAL" clId="{8F7AFD01-8FC7-4C21-BC24-E6066722842E}" dt="2021-06-15T07:22:26.902" v="4" actId="2696"/>
        <pc:sldMkLst>
          <pc:docMk/>
          <pc:sldMk cId="2829123890" sldId="302"/>
        </pc:sldMkLst>
      </pc:sldChg>
      <pc:sldChg chg="del">
        <pc:chgData name="Meyer Raphael (PAR-ES)" userId="79615dfe-ed48-4e74-a40f-4f7b034c1c27" providerId="ADAL" clId="{8F7AFD01-8FC7-4C21-BC24-E6066722842E}" dt="2021-06-15T07:22:31.797" v="5" actId="2696"/>
        <pc:sldMkLst>
          <pc:docMk/>
          <pc:sldMk cId="220263692" sldId="303"/>
        </pc:sldMkLst>
      </pc:sldChg>
      <pc:sldChg chg="del">
        <pc:chgData name="Meyer Raphael (PAR-ES)" userId="79615dfe-ed48-4e74-a40f-4f7b034c1c27" providerId="ADAL" clId="{8F7AFD01-8FC7-4C21-BC24-E6066722842E}" dt="2021-06-15T07:22:23.185" v="3" actId="2696"/>
        <pc:sldMkLst>
          <pc:docMk/>
          <pc:sldMk cId="4199929677" sldId="304"/>
        </pc:sldMkLst>
      </pc:sldChg>
    </pc:docChg>
  </pc:docChgLst>
  <pc:docChgLst>
    <pc:chgData name="Meyer Raphael (PAR-ES)" userId="79615dfe-ed48-4e74-a40f-4f7b034c1c27" providerId="ADAL" clId="{6FC2220F-25B4-483E-8E4F-9E2FCA818304}"/>
    <pc:docChg chg="undo custSel modSld">
      <pc:chgData name="Meyer Raphael (PAR-ES)" userId="79615dfe-ed48-4e74-a40f-4f7b034c1c27" providerId="ADAL" clId="{6FC2220F-25B4-483E-8E4F-9E2FCA818304}" dt="2021-10-25T08:17:44.179" v="1021" actId="20577"/>
      <pc:docMkLst>
        <pc:docMk/>
      </pc:docMkLst>
      <pc:sldChg chg="modSp mod">
        <pc:chgData name="Meyer Raphael (PAR-ES)" userId="79615dfe-ed48-4e74-a40f-4f7b034c1c27" providerId="ADAL" clId="{6FC2220F-25B4-483E-8E4F-9E2FCA818304}" dt="2021-10-22T07:15:02.229" v="67" actId="1038"/>
        <pc:sldMkLst>
          <pc:docMk/>
          <pc:sldMk cId="2343299233" sldId="374"/>
        </pc:sldMkLst>
        <pc:spChg chg="mod">
          <ac:chgData name="Meyer Raphael (PAR-ES)" userId="79615dfe-ed48-4e74-a40f-4f7b034c1c27" providerId="ADAL" clId="{6FC2220F-25B4-483E-8E4F-9E2FCA818304}" dt="2021-10-22T07:15:02.229" v="67" actId="1038"/>
          <ac:spMkLst>
            <pc:docMk/>
            <pc:sldMk cId="2343299233" sldId="374"/>
            <ac:spMk id="12" creationId="{970D2C07-63A2-4265-B006-56F685FE80A5}"/>
          </ac:spMkLst>
        </pc:spChg>
        <pc:spChg chg="mod">
          <ac:chgData name="Meyer Raphael (PAR-ES)" userId="79615dfe-ed48-4e74-a40f-4f7b034c1c27" providerId="ADAL" clId="{6FC2220F-25B4-483E-8E4F-9E2FCA818304}" dt="2021-10-22T07:15:02.229" v="67" actId="1038"/>
          <ac:spMkLst>
            <pc:docMk/>
            <pc:sldMk cId="2343299233" sldId="374"/>
            <ac:spMk id="13" creationId="{93412675-62AA-41D8-997C-4E877ED953A8}"/>
          </ac:spMkLst>
        </pc:spChg>
        <pc:graphicFrameChg chg="modGraphic">
          <ac:chgData name="Meyer Raphael (PAR-ES)" userId="79615dfe-ed48-4e74-a40f-4f7b034c1c27" providerId="ADAL" clId="{6FC2220F-25B4-483E-8E4F-9E2FCA818304}" dt="2021-10-22T07:09:35.961" v="9"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6FC2220F-25B4-483E-8E4F-9E2FCA818304}" dt="2021-10-22T07:15:02.229" v="67" actId="1038"/>
          <ac:cxnSpMkLst>
            <pc:docMk/>
            <pc:sldMk cId="2343299233" sldId="374"/>
            <ac:cxnSpMk id="8" creationId="{6F3EB9D3-E612-42D9-859B-1905BD876C26}"/>
          </ac:cxnSpMkLst>
        </pc:cxnChg>
      </pc:sldChg>
      <pc:sldChg chg="modSp mod">
        <pc:chgData name="Meyer Raphael (PAR-ES)" userId="79615dfe-ed48-4e74-a40f-4f7b034c1c27" providerId="ADAL" clId="{6FC2220F-25B4-483E-8E4F-9E2FCA818304}" dt="2021-10-22T07:15:39.555" v="77" actId="1037"/>
        <pc:sldMkLst>
          <pc:docMk/>
          <pc:sldMk cId="3759573184" sldId="375"/>
        </pc:sldMkLst>
        <pc:spChg chg="mod">
          <ac:chgData name="Meyer Raphael (PAR-ES)" userId="79615dfe-ed48-4e74-a40f-4f7b034c1c27" providerId="ADAL" clId="{6FC2220F-25B4-483E-8E4F-9E2FCA818304}" dt="2021-10-22T07:15:39.555" v="77" actId="1037"/>
          <ac:spMkLst>
            <pc:docMk/>
            <pc:sldMk cId="3759573184" sldId="375"/>
            <ac:spMk id="12" creationId="{970D2C07-63A2-4265-B006-56F685FE80A5}"/>
          </ac:spMkLst>
        </pc:spChg>
        <pc:spChg chg="mod">
          <ac:chgData name="Meyer Raphael (PAR-ES)" userId="79615dfe-ed48-4e74-a40f-4f7b034c1c27" providerId="ADAL" clId="{6FC2220F-25B4-483E-8E4F-9E2FCA818304}" dt="2021-10-22T07:15:39.555" v="77" actId="1037"/>
          <ac:spMkLst>
            <pc:docMk/>
            <pc:sldMk cId="3759573184" sldId="375"/>
            <ac:spMk id="13" creationId="{93412675-62AA-41D8-997C-4E877ED953A8}"/>
          </ac:spMkLst>
        </pc:spChg>
        <pc:graphicFrameChg chg="mod modGraphic">
          <ac:chgData name="Meyer Raphael (PAR-ES)" userId="79615dfe-ed48-4e74-a40f-4f7b034c1c27" providerId="ADAL" clId="{6FC2220F-25B4-483E-8E4F-9E2FCA818304}" dt="2021-10-22T07:09:58.641" v="12"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6FC2220F-25B4-483E-8E4F-9E2FCA818304}" dt="2021-10-22T07:15:39.555" v="77" actId="1037"/>
          <ac:cxnSpMkLst>
            <pc:docMk/>
            <pc:sldMk cId="3759573184" sldId="375"/>
            <ac:cxnSpMk id="8" creationId="{6F3EB9D3-E612-42D9-859B-1905BD876C26}"/>
          </ac:cxnSpMkLst>
        </pc:cxnChg>
      </pc:sldChg>
      <pc:sldChg chg="modSp mod">
        <pc:chgData name="Meyer Raphael (PAR-ES)" userId="79615dfe-ed48-4e74-a40f-4f7b034c1c27" providerId="ADAL" clId="{6FC2220F-25B4-483E-8E4F-9E2FCA818304}" dt="2021-10-22T07:15:49.707" v="87" actId="1037"/>
        <pc:sldMkLst>
          <pc:docMk/>
          <pc:sldMk cId="3027727826" sldId="376"/>
        </pc:sldMkLst>
        <pc:spChg chg="mod">
          <ac:chgData name="Meyer Raphael (PAR-ES)" userId="79615dfe-ed48-4e74-a40f-4f7b034c1c27" providerId="ADAL" clId="{6FC2220F-25B4-483E-8E4F-9E2FCA818304}" dt="2021-10-22T07:15:49.707" v="87" actId="1037"/>
          <ac:spMkLst>
            <pc:docMk/>
            <pc:sldMk cId="3027727826" sldId="376"/>
            <ac:spMk id="12" creationId="{970D2C07-63A2-4265-B006-56F685FE80A5}"/>
          </ac:spMkLst>
        </pc:spChg>
        <pc:spChg chg="mod">
          <ac:chgData name="Meyer Raphael (PAR-ES)" userId="79615dfe-ed48-4e74-a40f-4f7b034c1c27" providerId="ADAL" clId="{6FC2220F-25B4-483E-8E4F-9E2FCA818304}" dt="2021-10-22T07:15:49.707" v="87" actId="1037"/>
          <ac:spMkLst>
            <pc:docMk/>
            <pc:sldMk cId="3027727826" sldId="376"/>
            <ac:spMk id="13" creationId="{93412675-62AA-41D8-997C-4E877ED953A8}"/>
          </ac:spMkLst>
        </pc:spChg>
        <pc:graphicFrameChg chg="mod modGraphic">
          <ac:chgData name="Meyer Raphael (PAR-ES)" userId="79615dfe-ed48-4e74-a40f-4f7b034c1c27" providerId="ADAL" clId="{6FC2220F-25B4-483E-8E4F-9E2FCA818304}" dt="2021-10-22T07:10:06.131"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6FC2220F-25B4-483E-8E4F-9E2FCA818304}" dt="2021-10-22T07:15:49.707" v="87" actId="1037"/>
          <ac:cxnSpMkLst>
            <pc:docMk/>
            <pc:sldMk cId="3027727826" sldId="376"/>
            <ac:cxnSpMk id="8" creationId="{6F3EB9D3-E612-42D9-859B-1905BD876C26}"/>
          </ac:cxnSpMkLst>
        </pc:cxnChg>
      </pc:sldChg>
      <pc:sldChg chg="addSp modSp mod">
        <pc:chgData name="Meyer Raphael (PAR-ES)" userId="79615dfe-ed48-4e74-a40f-4f7b034c1c27" providerId="ADAL" clId="{6FC2220F-25B4-483E-8E4F-9E2FCA818304}" dt="2021-10-25T07:43:51.061" v="868" actId="207"/>
        <pc:sldMkLst>
          <pc:docMk/>
          <pc:sldMk cId="1199121354" sldId="417"/>
        </pc:sldMkLst>
        <pc:spChg chg="add mod">
          <ac:chgData name="Meyer Raphael (PAR-ES)" userId="79615dfe-ed48-4e74-a40f-4f7b034c1c27" providerId="ADAL" clId="{6FC2220F-25B4-483E-8E4F-9E2FCA818304}" dt="2021-10-25T07:43:03.494" v="867" actId="1038"/>
          <ac:spMkLst>
            <pc:docMk/>
            <pc:sldMk cId="1199121354" sldId="417"/>
            <ac:spMk id="2" creationId="{D3072831-C6C5-4500-82D9-A4E697E149D4}"/>
          </ac:spMkLst>
        </pc:spChg>
        <pc:spChg chg="add mod">
          <ac:chgData name="Meyer Raphael (PAR-ES)" userId="79615dfe-ed48-4e74-a40f-4f7b034c1c27" providerId="ADAL" clId="{6FC2220F-25B4-483E-8E4F-9E2FCA818304}" dt="2021-10-25T07:43:51.061" v="868" actId="207"/>
          <ac:spMkLst>
            <pc:docMk/>
            <pc:sldMk cId="1199121354" sldId="417"/>
            <ac:spMk id="3" creationId="{73840E3E-6FD1-4C1A-8277-0FABBAB9146A}"/>
          </ac:spMkLst>
        </pc:spChg>
        <pc:spChg chg="add mod">
          <ac:chgData name="Meyer Raphael (PAR-ES)" userId="79615dfe-ed48-4e74-a40f-4f7b034c1c27" providerId="ADAL" clId="{6FC2220F-25B4-483E-8E4F-9E2FCA818304}" dt="2021-10-25T07:42:20.793" v="514" actId="1037"/>
          <ac:spMkLst>
            <pc:docMk/>
            <pc:sldMk cId="1199121354" sldId="417"/>
            <ac:spMk id="21" creationId="{DF06278D-3932-4CB6-A54D-3F3BA8DFD03F}"/>
          </ac:spMkLst>
        </pc:spChg>
      </pc:sldChg>
      <pc:sldChg chg="addSp modSp mod">
        <pc:chgData name="Meyer Raphael (PAR-ES)" userId="79615dfe-ed48-4e74-a40f-4f7b034c1c27" providerId="ADAL" clId="{6FC2220F-25B4-483E-8E4F-9E2FCA818304}" dt="2021-10-25T08:13:48.600" v="1007" actId="20577"/>
        <pc:sldMkLst>
          <pc:docMk/>
          <pc:sldMk cId="200941906" sldId="419"/>
        </pc:sldMkLst>
        <pc:spChg chg="add mod">
          <ac:chgData name="Meyer Raphael (PAR-ES)" userId="79615dfe-ed48-4e74-a40f-4f7b034c1c27" providerId="ADAL" clId="{6FC2220F-25B4-483E-8E4F-9E2FCA818304}" dt="2021-10-25T08:13:48.600" v="1007" actId="20577"/>
          <ac:spMkLst>
            <pc:docMk/>
            <pc:sldMk cId="200941906" sldId="419"/>
            <ac:spMk id="19" creationId="{C9D68B27-6022-4C1D-A210-C0037BB4C784}"/>
          </ac:spMkLst>
        </pc:spChg>
        <pc:spChg chg="add mod">
          <ac:chgData name="Meyer Raphael (PAR-ES)" userId="79615dfe-ed48-4e74-a40f-4f7b034c1c27" providerId="ADAL" clId="{6FC2220F-25B4-483E-8E4F-9E2FCA818304}" dt="2021-10-25T07:46:37.595" v="919" actId="1037"/>
          <ac:spMkLst>
            <pc:docMk/>
            <pc:sldMk cId="200941906" sldId="419"/>
            <ac:spMk id="20" creationId="{F24A071D-DF83-4BD8-A0DF-CECD20705BCD}"/>
          </ac:spMkLst>
        </pc:spChg>
        <pc:spChg chg="add mod">
          <ac:chgData name="Meyer Raphael (PAR-ES)" userId="79615dfe-ed48-4e74-a40f-4f7b034c1c27" providerId="ADAL" clId="{6FC2220F-25B4-483E-8E4F-9E2FCA818304}" dt="2021-10-25T07:46:37.595" v="919" actId="1037"/>
          <ac:spMkLst>
            <pc:docMk/>
            <pc:sldMk cId="200941906" sldId="419"/>
            <ac:spMk id="21" creationId="{FE118A8E-FAC4-48F2-B7D7-7F6392382158}"/>
          </ac:spMkLst>
        </pc:spChg>
      </pc:sldChg>
      <pc:sldChg chg="addSp delSp modSp mod">
        <pc:chgData name="Meyer Raphael (PAR-ES)" userId="79615dfe-ed48-4e74-a40f-4f7b034c1c27" providerId="ADAL" clId="{6FC2220F-25B4-483E-8E4F-9E2FCA818304}" dt="2021-10-25T08:17:44.179" v="1021" actId="20577"/>
        <pc:sldMkLst>
          <pc:docMk/>
          <pc:sldMk cId="3299254992" sldId="420"/>
        </pc:sldMkLst>
        <pc:spChg chg="add del">
          <ac:chgData name="Meyer Raphael (PAR-ES)" userId="79615dfe-ed48-4e74-a40f-4f7b034c1c27" providerId="ADAL" clId="{6FC2220F-25B4-483E-8E4F-9E2FCA818304}" dt="2021-10-25T07:52:17.577" v="922" actId="22"/>
          <ac:spMkLst>
            <pc:docMk/>
            <pc:sldMk cId="3299254992" sldId="420"/>
            <ac:spMk id="20" creationId="{D6244E50-AB50-40E7-8547-F26FCA7CF3A4}"/>
          </ac:spMkLst>
        </pc:spChg>
        <pc:spChg chg="add mod">
          <ac:chgData name="Meyer Raphael (PAR-ES)" userId="79615dfe-ed48-4e74-a40f-4f7b034c1c27" providerId="ADAL" clId="{6FC2220F-25B4-483E-8E4F-9E2FCA818304}" dt="2021-10-25T08:17:44.179" v="1021" actId="20577"/>
          <ac:spMkLst>
            <pc:docMk/>
            <pc:sldMk cId="3299254992" sldId="420"/>
            <ac:spMk id="21" creationId="{4B90160B-6648-45BB-A5C3-EB5B31E56152}"/>
          </ac:spMkLst>
        </pc:spChg>
        <pc:spChg chg="add mod">
          <ac:chgData name="Meyer Raphael (PAR-ES)" userId="79615dfe-ed48-4e74-a40f-4f7b034c1c27" providerId="ADAL" clId="{6FC2220F-25B4-483E-8E4F-9E2FCA818304}" dt="2021-10-25T07:53:01.205" v="968" actId="1038"/>
          <ac:spMkLst>
            <pc:docMk/>
            <pc:sldMk cId="3299254992" sldId="420"/>
            <ac:spMk id="22" creationId="{CFE96C0C-1138-4465-9CE6-8A98790C1BC3}"/>
          </ac:spMkLst>
        </pc:spChg>
        <pc:spChg chg="add mod">
          <ac:chgData name="Meyer Raphael (PAR-ES)" userId="79615dfe-ed48-4e74-a40f-4f7b034c1c27" providerId="ADAL" clId="{6FC2220F-25B4-483E-8E4F-9E2FCA818304}" dt="2021-10-25T07:53:01.205" v="968" actId="1038"/>
          <ac:spMkLst>
            <pc:docMk/>
            <pc:sldMk cId="3299254992" sldId="420"/>
            <ac:spMk id="23" creationId="{BFF0EC26-A771-4DBD-AB84-6E94F4A5A085}"/>
          </ac:spMkLst>
        </pc:spChg>
      </pc:sldChg>
    </pc:docChg>
  </pc:docChgLst>
  <pc:docChgLst>
    <pc:chgData name="Meyer Raphael (PAR-ES)" userId="79615dfe-ed48-4e74-a40f-4f7b034c1c27" providerId="ADAL" clId="{40A9BA90-785D-4DA2-BADF-77C405BC64A0}"/>
    <pc:docChg chg="undo custSel addSld delSld modSld sldOrd">
      <pc:chgData name="Meyer Raphael (PAR-ES)" userId="79615dfe-ed48-4e74-a40f-4f7b034c1c27" providerId="ADAL" clId="{40A9BA90-785D-4DA2-BADF-77C405BC64A0}" dt="2021-06-15T14:51:50.820" v="274"/>
      <pc:docMkLst>
        <pc:docMk/>
      </pc:docMkLst>
      <pc:sldChg chg="modSp mod">
        <pc:chgData name="Meyer Raphael (PAR-ES)" userId="79615dfe-ed48-4e74-a40f-4f7b034c1c27" providerId="ADAL" clId="{40A9BA90-785D-4DA2-BADF-77C405BC64A0}" dt="2021-06-15T14:37:09.270" v="158" actId="554"/>
        <pc:sldMkLst>
          <pc:docMk/>
          <pc:sldMk cId="1495152177" sldId="298"/>
        </pc:sldMkLst>
        <pc:spChg chg="mod">
          <ac:chgData name="Meyer Raphael (PAR-ES)" userId="79615dfe-ed48-4e74-a40f-4f7b034c1c27" providerId="ADAL" clId="{40A9BA90-785D-4DA2-BADF-77C405BC64A0}" dt="2021-06-15T14:29:25.246" v="81" actId="1036"/>
          <ac:spMkLst>
            <pc:docMk/>
            <pc:sldMk cId="1495152177" sldId="298"/>
            <ac:spMk id="6" creationId="{0EEE4EA3-E16E-424B-97F9-53A8F5D585AE}"/>
          </ac:spMkLst>
        </pc:spChg>
        <pc:spChg chg="mod">
          <ac:chgData name="Meyer Raphael (PAR-ES)" userId="79615dfe-ed48-4e74-a40f-4f7b034c1c27" providerId="ADAL" clId="{40A9BA90-785D-4DA2-BADF-77C405BC64A0}" dt="2021-06-15T14:29:45.581" v="85" actId="1076"/>
          <ac:spMkLst>
            <pc:docMk/>
            <pc:sldMk cId="1495152177" sldId="298"/>
            <ac:spMk id="7" creationId="{51421822-C303-4FC2-BF5E-F4377E568635}"/>
          </ac:spMkLst>
        </pc:spChg>
        <pc:spChg chg="mod">
          <ac:chgData name="Meyer Raphael (PAR-ES)" userId="79615dfe-ed48-4e74-a40f-4f7b034c1c27" providerId="ADAL" clId="{40A9BA90-785D-4DA2-BADF-77C405BC64A0}" dt="2021-06-15T14:37:09.270" v="158" actId="554"/>
          <ac:spMkLst>
            <pc:docMk/>
            <pc:sldMk cId="1495152177" sldId="298"/>
            <ac:spMk id="12" creationId="{970D2C07-63A2-4265-B006-56F685FE80A5}"/>
          </ac:spMkLst>
        </pc:spChg>
        <pc:spChg chg="mod">
          <ac:chgData name="Meyer Raphael (PAR-ES)" userId="79615dfe-ed48-4e74-a40f-4f7b034c1c27" providerId="ADAL" clId="{40A9BA90-785D-4DA2-BADF-77C405BC64A0}" dt="2021-06-15T14:37:09.270" v="158" actId="554"/>
          <ac:spMkLst>
            <pc:docMk/>
            <pc:sldMk cId="1495152177" sldId="298"/>
            <ac:spMk id="13" creationId="{93412675-62AA-41D8-997C-4E877ED953A8}"/>
          </ac:spMkLst>
        </pc:spChg>
        <pc:graphicFrameChg chg="mod">
          <ac:chgData name="Meyer Raphael (PAR-ES)" userId="79615dfe-ed48-4e74-a40f-4f7b034c1c27" providerId="ADAL" clId="{40A9BA90-785D-4DA2-BADF-77C405BC64A0}" dt="2021-06-15T14:34:18.871" v="132" actId="693"/>
          <ac:graphicFrameMkLst>
            <pc:docMk/>
            <pc:sldMk cId="1495152177" sldId="298"/>
            <ac:graphicFrameMk id="5" creationId="{4CF6AB8B-CAB9-4C7E-8E59-E00357A4D7F0}"/>
          </ac:graphicFrameMkLst>
        </pc:graphicFrameChg>
        <pc:graphicFrameChg chg="mod">
          <ac:chgData name="Meyer Raphael (PAR-ES)" userId="79615dfe-ed48-4e74-a40f-4f7b034c1c27" providerId="ADAL" clId="{40A9BA90-785D-4DA2-BADF-77C405BC64A0}" dt="2021-06-15T14:29:54.178" v="105" actId="1036"/>
          <ac:graphicFrameMkLst>
            <pc:docMk/>
            <pc:sldMk cId="1495152177" sldId="298"/>
            <ac:graphicFrameMk id="9" creationId="{E1369C63-C4A7-403B-A03F-B004599F910A}"/>
          </ac:graphicFrameMkLst>
        </pc:graphicFrameChg>
        <pc:cxnChg chg="mod">
          <ac:chgData name="Meyer Raphael (PAR-ES)" userId="79615dfe-ed48-4e74-a40f-4f7b034c1c27" providerId="ADAL" clId="{40A9BA90-785D-4DA2-BADF-77C405BC64A0}" dt="2021-06-15T14:35:14.473" v="157" actId="1037"/>
          <ac:cxnSpMkLst>
            <pc:docMk/>
            <pc:sldMk cId="1495152177" sldId="298"/>
            <ac:cxnSpMk id="8" creationId="{6F3EB9D3-E612-42D9-859B-1905BD876C26}"/>
          </ac:cxnSpMkLst>
        </pc:cxnChg>
      </pc:sldChg>
      <pc:sldChg chg="modSp del ord">
        <pc:chgData name="Meyer Raphael (PAR-ES)" userId="79615dfe-ed48-4e74-a40f-4f7b034c1c27" providerId="ADAL" clId="{40A9BA90-785D-4DA2-BADF-77C405BC64A0}" dt="2021-06-15T14:49:08.825" v="261" actId="47"/>
        <pc:sldMkLst>
          <pc:docMk/>
          <pc:sldMk cId="1559304935" sldId="363"/>
        </pc:sldMkLst>
        <pc:graphicFrameChg chg="mod">
          <ac:chgData name="Meyer Raphael (PAR-ES)" userId="79615dfe-ed48-4e74-a40f-4f7b034c1c27" providerId="ADAL" clId="{40A9BA90-785D-4DA2-BADF-77C405BC64A0}" dt="2021-06-15T14:32:38.587" v="131" actId="693"/>
          <ac:graphicFrameMkLst>
            <pc:docMk/>
            <pc:sldMk cId="1559304935" sldId="363"/>
            <ac:graphicFrameMk id="5" creationId="{4CF6AB8B-CAB9-4C7E-8E59-E00357A4D7F0}"/>
          </ac:graphicFrameMkLst>
        </pc:graphicFrameChg>
      </pc:sldChg>
      <pc:sldChg chg="del ord">
        <pc:chgData name="Meyer Raphael (PAR-ES)" userId="79615dfe-ed48-4e74-a40f-4f7b034c1c27" providerId="ADAL" clId="{40A9BA90-785D-4DA2-BADF-77C405BC64A0}" dt="2021-06-15T14:50:31.407" v="267" actId="47"/>
        <pc:sldMkLst>
          <pc:docMk/>
          <pc:sldMk cId="2043265091" sldId="364"/>
        </pc:sldMkLst>
      </pc:sldChg>
      <pc:sldChg chg="addSp delSp modSp add mod">
        <pc:chgData name="Meyer Raphael (PAR-ES)" userId="79615dfe-ed48-4e74-a40f-4f7b034c1c27" providerId="ADAL" clId="{40A9BA90-785D-4DA2-BADF-77C405BC64A0}" dt="2021-06-15T14:48:56.292" v="260" actId="207"/>
        <pc:sldMkLst>
          <pc:docMk/>
          <pc:sldMk cId="3590012689" sldId="365"/>
        </pc:sldMkLst>
        <pc:spChg chg="mod">
          <ac:chgData name="Meyer Raphael (PAR-ES)" userId="79615dfe-ed48-4e74-a40f-4f7b034c1c27" providerId="ADAL" clId="{40A9BA90-785D-4DA2-BADF-77C405BC64A0}" dt="2021-06-15T14:37:59.791" v="165"/>
          <ac:spMkLst>
            <pc:docMk/>
            <pc:sldMk cId="3590012689" sldId="365"/>
            <ac:spMk id="2" creationId="{A2DC317F-F1F4-4624-8FC1-3B68C1DBB3DA}"/>
          </ac:spMkLst>
        </pc:spChg>
        <pc:spChg chg="add del mod">
          <ac:chgData name="Meyer Raphael (PAR-ES)" userId="79615dfe-ed48-4e74-a40f-4f7b034c1c27" providerId="ADAL" clId="{40A9BA90-785D-4DA2-BADF-77C405BC64A0}" dt="2021-06-15T14:39:22.852" v="179" actId="1076"/>
          <ac:spMkLst>
            <pc:docMk/>
            <pc:sldMk cId="3590012689" sldId="365"/>
            <ac:spMk id="6" creationId="{0EEE4EA3-E16E-424B-97F9-53A8F5D585AE}"/>
          </ac:spMkLst>
        </pc:spChg>
        <pc:spChg chg="mod">
          <ac:chgData name="Meyer Raphael (PAR-ES)" userId="79615dfe-ed48-4e74-a40f-4f7b034c1c27" providerId="ADAL" clId="{40A9BA90-785D-4DA2-BADF-77C405BC64A0}" dt="2021-06-15T14:43:13.625" v="241"/>
          <ac:spMkLst>
            <pc:docMk/>
            <pc:sldMk cId="3590012689" sldId="365"/>
            <ac:spMk id="7" creationId="{51421822-C303-4FC2-BF5E-F4377E568635}"/>
          </ac:spMkLst>
        </pc:spChg>
        <pc:spChg chg="mod">
          <ac:chgData name="Meyer Raphael (PAR-ES)" userId="79615dfe-ed48-4e74-a40f-4f7b034c1c27" providerId="ADAL" clId="{40A9BA90-785D-4DA2-BADF-77C405BC64A0}" dt="2021-06-15T14:38:08.944" v="166"/>
          <ac:spMkLst>
            <pc:docMk/>
            <pc:sldMk cId="3590012689" sldId="365"/>
            <ac:spMk id="10" creationId="{077DFD58-E5EE-4B68-9325-D935DB04DD40}"/>
          </ac:spMkLst>
        </pc:spChg>
        <pc:graphicFrameChg chg="mod">
          <ac:chgData name="Meyer Raphael (PAR-ES)" userId="79615dfe-ed48-4e74-a40f-4f7b034c1c27" providerId="ADAL" clId="{40A9BA90-785D-4DA2-BADF-77C405BC64A0}" dt="2021-06-15T14:48:56.292" v="260" actId="207"/>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40A9BA90-785D-4DA2-BADF-77C405BC64A0}" dt="2021-06-15T14:48:47.852" v="259" actId="13926"/>
          <ac:graphicFrameMkLst>
            <pc:docMk/>
            <pc:sldMk cId="3590012689" sldId="365"/>
            <ac:graphicFrameMk id="9" creationId="{E1369C63-C4A7-403B-A03F-B004599F910A}"/>
          </ac:graphicFrameMkLst>
        </pc:graphicFrameChg>
        <pc:picChg chg="add del mod">
          <ac:chgData name="Meyer Raphael (PAR-ES)" userId="79615dfe-ed48-4e74-a40f-4f7b034c1c27" providerId="ADAL" clId="{40A9BA90-785D-4DA2-BADF-77C405BC64A0}" dt="2021-06-15T14:39:17.961" v="177"/>
          <ac:picMkLst>
            <pc:docMk/>
            <pc:sldMk cId="3590012689" sldId="365"/>
            <ac:picMk id="4" creationId="{A0221F0E-0FD9-413C-9DD8-9D1190B2427C}"/>
          </ac:picMkLst>
        </pc:picChg>
        <pc:picChg chg="add del mod">
          <ac:chgData name="Meyer Raphael (PAR-ES)" userId="79615dfe-ed48-4e74-a40f-4f7b034c1c27" providerId="ADAL" clId="{40A9BA90-785D-4DA2-BADF-77C405BC64A0}" dt="2021-06-15T14:42:39.552" v="240" actId="478"/>
          <ac:picMkLst>
            <pc:docMk/>
            <pc:sldMk cId="3590012689" sldId="365"/>
            <ac:picMk id="11" creationId="{7AB9421F-5F44-4705-9C2B-F02C9A51D5DC}"/>
          </ac:picMkLst>
        </pc:picChg>
      </pc:sldChg>
      <pc:sldChg chg="modSp add mod">
        <pc:chgData name="Meyer Raphael (PAR-ES)" userId="79615dfe-ed48-4e74-a40f-4f7b034c1c27" providerId="ADAL" clId="{40A9BA90-785D-4DA2-BADF-77C405BC64A0}" dt="2021-06-15T14:51:50.820" v="274"/>
        <pc:sldMkLst>
          <pc:docMk/>
          <pc:sldMk cId="689864941" sldId="366"/>
        </pc:sldMkLst>
        <pc:spChg chg="mod">
          <ac:chgData name="Meyer Raphael (PAR-ES)" userId="79615dfe-ed48-4e74-a40f-4f7b034c1c27" providerId="ADAL" clId="{40A9BA90-785D-4DA2-BADF-77C405BC64A0}" dt="2021-06-15T14:49:43.752" v="262"/>
          <ac:spMkLst>
            <pc:docMk/>
            <pc:sldMk cId="689864941" sldId="366"/>
            <ac:spMk id="2" creationId="{A2DC317F-F1F4-4624-8FC1-3B68C1DBB3DA}"/>
          </ac:spMkLst>
        </pc:spChg>
        <pc:spChg chg="mod">
          <ac:chgData name="Meyer Raphael (PAR-ES)" userId="79615dfe-ed48-4e74-a40f-4f7b034c1c27" providerId="ADAL" clId="{40A9BA90-785D-4DA2-BADF-77C405BC64A0}" dt="2021-06-15T14:50:09.714" v="264"/>
          <ac:spMkLst>
            <pc:docMk/>
            <pc:sldMk cId="689864941" sldId="366"/>
            <ac:spMk id="7" creationId="{51421822-C303-4FC2-BF5E-F4377E568635}"/>
          </ac:spMkLst>
        </pc:spChg>
        <pc:spChg chg="mod">
          <ac:chgData name="Meyer Raphael (PAR-ES)" userId="79615dfe-ed48-4e74-a40f-4f7b034c1c27" providerId="ADAL" clId="{40A9BA90-785D-4DA2-BADF-77C405BC64A0}" dt="2021-06-15T14:49:53.700" v="263"/>
          <ac:spMkLst>
            <pc:docMk/>
            <pc:sldMk cId="689864941" sldId="366"/>
            <ac:spMk id="10" creationId="{077DFD58-E5EE-4B68-9325-D935DB04DD40}"/>
          </ac:spMkLst>
        </pc:spChg>
        <pc:graphicFrameChg chg="mod">
          <ac:chgData name="Meyer Raphael (PAR-ES)" userId="79615dfe-ed48-4e74-a40f-4f7b034c1c27" providerId="ADAL" clId="{40A9BA90-785D-4DA2-BADF-77C405BC64A0}" dt="2021-06-15T14:50:20.856" v="265" actId="207"/>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40A9BA90-785D-4DA2-BADF-77C405BC64A0}" dt="2021-06-15T14:51:50.820" v="274"/>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5381B09C-6CC7-4512-B6AD-055336C6B097}"/>
    <pc:docChg chg="delSld">
      <pc:chgData name="Meyer Raphael (PAR-ES)" userId="79615dfe-ed48-4e74-a40f-4f7b034c1c27" providerId="ADAL" clId="{5381B09C-6CC7-4512-B6AD-055336C6B097}" dt="2021-11-08T11:32:43.108" v="0" actId="47"/>
      <pc:docMkLst>
        <pc:docMk/>
      </pc:docMkLst>
      <pc:sldChg chg="del">
        <pc:chgData name="Meyer Raphael (PAR-ES)" userId="79615dfe-ed48-4e74-a40f-4f7b034c1c27" providerId="ADAL" clId="{5381B09C-6CC7-4512-B6AD-055336C6B097}" dt="2021-11-08T11:32:43.108" v="0" actId="47"/>
        <pc:sldMkLst>
          <pc:docMk/>
          <pc:sldMk cId="3677740869" sldId="271"/>
        </pc:sldMkLst>
      </pc:sldChg>
      <pc:sldChg chg="del">
        <pc:chgData name="Meyer Raphael (PAR-ES)" userId="79615dfe-ed48-4e74-a40f-4f7b034c1c27" providerId="ADAL" clId="{5381B09C-6CC7-4512-B6AD-055336C6B097}" dt="2021-11-08T11:32:43.108" v="0" actId="47"/>
        <pc:sldMkLst>
          <pc:docMk/>
          <pc:sldMk cId="1963209825" sldId="272"/>
        </pc:sldMkLst>
      </pc:sldChg>
      <pc:sldChg chg="del">
        <pc:chgData name="Meyer Raphael (PAR-ES)" userId="79615dfe-ed48-4e74-a40f-4f7b034c1c27" providerId="ADAL" clId="{5381B09C-6CC7-4512-B6AD-055336C6B097}" dt="2021-11-08T11:32:43.108" v="0" actId="47"/>
        <pc:sldMkLst>
          <pc:docMk/>
          <pc:sldMk cId="1065586608" sldId="273"/>
        </pc:sldMkLst>
      </pc:sldChg>
    </pc:docChg>
  </pc:docChgLst>
  <pc:docChgLst>
    <pc:chgData name="Weigel Stefan (KOM-PGA-VSF)" userId="fd3b2067-2981-4ad8-bf3a-d2e1004e4fa8" providerId="ADAL" clId="{E58961C8-12A7-4E0C-8D19-B5F32C4D6914}"/>
    <pc:docChg chg="modSld sldOrd">
      <pc:chgData name="Weigel Stefan (KOM-PGA-VSF)" userId="fd3b2067-2981-4ad8-bf3a-d2e1004e4fa8" providerId="ADAL" clId="{E58961C8-12A7-4E0C-8D19-B5F32C4D6914}" dt="2020-10-06T09:46:59.642" v="2"/>
      <pc:docMkLst>
        <pc:docMk/>
      </pc:docMkLst>
      <pc:sldChg chg="modTransition">
        <pc:chgData name="Weigel Stefan (KOM-PGA-VSF)" userId="fd3b2067-2981-4ad8-bf3a-d2e1004e4fa8" providerId="ADAL" clId="{E58961C8-12A7-4E0C-8D19-B5F32C4D6914}" dt="2020-10-06T09:46:57.109" v="1"/>
        <pc:sldMkLst>
          <pc:docMk/>
          <pc:sldMk cId="1624757107" sldId="293"/>
        </pc:sldMkLst>
      </pc:sldChg>
      <pc:sldChg chg="modTransition">
        <pc:chgData name="Weigel Stefan (KOM-PGA-VSF)" userId="fd3b2067-2981-4ad8-bf3a-d2e1004e4fa8" providerId="ADAL" clId="{E58961C8-12A7-4E0C-8D19-B5F32C4D6914}" dt="2020-10-06T09:46:59.642" v="2"/>
        <pc:sldMkLst>
          <pc:docMk/>
          <pc:sldMk cId="278967075" sldId="294"/>
        </pc:sldMkLst>
      </pc:sldChg>
      <pc:sldChg chg="ord">
        <pc:chgData name="Weigel Stefan (KOM-PGA-VSF)" userId="fd3b2067-2981-4ad8-bf3a-d2e1004e4fa8" providerId="ADAL" clId="{E58961C8-12A7-4E0C-8D19-B5F32C4D6914}" dt="2020-10-06T09:46:47.762" v="0"/>
        <pc:sldMkLst>
          <pc:docMk/>
          <pc:sldMk cId="342226240" sldId="295"/>
        </pc:sldMkLst>
      </pc:sldChg>
    </pc:docChg>
  </pc:docChgLst>
  <pc:docChgLst>
    <pc:chgData name="Meyer Raphael (PAR-ES)" userId="79615dfe-ed48-4e74-a40f-4f7b034c1c27" providerId="ADAL" clId="{9C3B3081-711B-47CA-B6D3-9CEBB9DB5DFD}"/>
    <pc:docChg chg="undo redo custSel addSld delSld modSld sldOrd">
      <pc:chgData name="Meyer Raphael (PAR-ES)" userId="79615dfe-ed48-4e74-a40f-4f7b034c1c27" providerId="ADAL" clId="{9C3B3081-711B-47CA-B6D3-9CEBB9DB5DFD}" dt="2021-05-27T07:08:20.426" v="250" actId="27918"/>
      <pc:docMkLst>
        <pc:docMk/>
      </pc:docMkLst>
      <pc:sldChg chg="mod">
        <pc:chgData name="Meyer Raphael (PAR-ES)" userId="79615dfe-ed48-4e74-a40f-4f7b034c1c27" providerId="ADAL" clId="{9C3B3081-711B-47CA-B6D3-9CEBB9DB5DFD}" dt="2021-05-27T07:08:20.426" v="250" actId="27918"/>
        <pc:sldMkLst>
          <pc:docMk/>
          <pc:sldMk cId="1495152177" sldId="298"/>
        </pc:sldMkLst>
      </pc:sldChg>
      <pc:sldChg chg="modSp mod">
        <pc:chgData name="Meyer Raphael (PAR-ES)" userId="79615dfe-ed48-4e74-a40f-4f7b034c1c27" providerId="ADAL" clId="{9C3B3081-711B-47CA-B6D3-9CEBB9DB5DFD}" dt="2021-05-27T06:55:36.772" v="201" actId="552"/>
        <pc:sldMkLst>
          <pc:docMk/>
          <pc:sldMk cId="1667945532" sldId="306"/>
        </pc:sldMkLst>
        <pc:spChg chg="mod">
          <ac:chgData name="Meyer Raphael (PAR-ES)" userId="79615dfe-ed48-4e74-a40f-4f7b034c1c27" providerId="ADAL" clId="{9C3B3081-711B-47CA-B6D3-9CEBB9DB5DFD}" dt="2021-05-27T06:49:29.073" v="151" actId="1076"/>
          <ac:spMkLst>
            <pc:docMk/>
            <pc:sldMk cId="1667945532" sldId="306"/>
            <ac:spMk id="8" creationId="{5857C2A1-2CB8-4D4A-AEFD-E809BF73D04F}"/>
          </ac:spMkLst>
        </pc:spChg>
        <pc:spChg chg="mod">
          <ac:chgData name="Meyer Raphael (PAR-ES)" userId="79615dfe-ed48-4e74-a40f-4f7b034c1c27" providerId="ADAL" clId="{9C3B3081-711B-47CA-B6D3-9CEBB9DB5DFD}" dt="2021-05-27T06:55:16.262" v="199" actId="552"/>
          <ac:spMkLst>
            <pc:docMk/>
            <pc:sldMk cId="1667945532" sldId="306"/>
            <ac:spMk id="27" creationId="{46A6B042-39EE-4A58-BBAA-13D52264B660}"/>
          </ac:spMkLst>
        </pc:spChg>
        <pc:spChg chg="mod">
          <ac:chgData name="Meyer Raphael (PAR-ES)" userId="79615dfe-ed48-4e74-a40f-4f7b034c1c27" providerId="ADAL" clId="{9C3B3081-711B-47CA-B6D3-9CEBB9DB5DFD}" dt="2021-05-27T06:55:36.772" v="201" actId="552"/>
          <ac:spMkLst>
            <pc:docMk/>
            <pc:sldMk cId="1667945532" sldId="306"/>
            <ac:spMk id="28" creationId="{4492A3CD-6943-423D-BFEC-8129889E8B6F}"/>
          </ac:spMkLst>
        </pc:spChg>
        <pc:spChg chg="mod">
          <ac:chgData name="Meyer Raphael (PAR-ES)" userId="79615dfe-ed48-4e74-a40f-4f7b034c1c27" providerId="ADAL" clId="{9C3B3081-711B-47CA-B6D3-9CEBB9DB5DFD}" dt="2021-05-27T06:55:16.262" v="199" actId="552"/>
          <ac:spMkLst>
            <pc:docMk/>
            <pc:sldMk cId="1667945532" sldId="306"/>
            <ac:spMk id="31" creationId="{7491A47D-CAD4-478D-8F3A-296FFCB799F9}"/>
          </ac:spMkLst>
        </pc:spChg>
        <pc:spChg chg="mod">
          <ac:chgData name="Meyer Raphael (PAR-ES)" userId="79615dfe-ed48-4e74-a40f-4f7b034c1c27" providerId="ADAL" clId="{9C3B3081-711B-47CA-B6D3-9CEBB9DB5DFD}" dt="2021-05-27T06:55:36.772" v="201" actId="552"/>
          <ac:spMkLst>
            <pc:docMk/>
            <pc:sldMk cId="1667945532" sldId="306"/>
            <ac:spMk id="32" creationId="{E65DDA4F-7190-4D5B-B875-6818D18C9F6E}"/>
          </ac:spMkLst>
        </pc:spChg>
        <pc:graphicFrameChg chg="mod">
          <ac:chgData name="Meyer Raphael (PAR-ES)" userId="79615dfe-ed48-4e74-a40f-4f7b034c1c27" providerId="ADAL" clId="{9C3B3081-711B-47CA-B6D3-9CEBB9DB5DFD}" dt="2021-05-27T06:40:29.524" v="68"/>
          <ac:graphicFrameMkLst>
            <pc:docMk/>
            <pc:sldMk cId="1667945532" sldId="306"/>
            <ac:graphicFrameMk id="5" creationId="{4CF6AB8B-CAB9-4C7E-8E59-E00357A4D7F0}"/>
          </ac:graphicFrameMkLst>
        </pc:graphicFrameChg>
        <pc:cxnChg chg="mod">
          <ac:chgData name="Meyer Raphael (PAR-ES)" userId="79615dfe-ed48-4e74-a40f-4f7b034c1c27" providerId="ADAL" clId="{9C3B3081-711B-47CA-B6D3-9CEBB9DB5DFD}" dt="2021-05-27T06:48:40.115" v="146" actId="1076"/>
          <ac:cxnSpMkLst>
            <pc:docMk/>
            <pc:sldMk cId="1667945532" sldId="306"/>
            <ac:cxnSpMk id="20" creationId="{07FCC63F-5E2F-43DF-84ED-5FFEC92A0042}"/>
          </ac:cxnSpMkLst>
        </pc:cxnChg>
        <pc:cxnChg chg="mod">
          <ac:chgData name="Meyer Raphael (PAR-ES)" userId="79615dfe-ed48-4e74-a40f-4f7b034c1c27" providerId="ADAL" clId="{9C3B3081-711B-47CA-B6D3-9CEBB9DB5DFD}" dt="2021-05-27T06:48:26.976" v="145" actId="1037"/>
          <ac:cxnSpMkLst>
            <pc:docMk/>
            <pc:sldMk cId="1667945532" sldId="306"/>
            <ac:cxnSpMk id="29" creationId="{FD3E902F-283F-48FC-9504-FF2FF4EA4BF0}"/>
          </ac:cxnSpMkLst>
        </pc:cxnChg>
        <pc:cxnChg chg="mod">
          <ac:chgData name="Meyer Raphael (PAR-ES)" userId="79615dfe-ed48-4e74-a40f-4f7b034c1c27" providerId="ADAL" clId="{9C3B3081-711B-47CA-B6D3-9CEBB9DB5DFD}" dt="2021-05-27T06:54:57.089" v="198" actId="1038"/>
          <ac:cxnSpMkLst>
            <pc:docMk/>
            <pc:sldMk cId="1667945532" sldId="306"/>
            <ac:cxnSpMk id="30" creationId="{1D702FCA-793F-404B-84D5-F14C318BFFB3}"/>
          </ac:cxnSpMkLst>
        </pc:cxnChg>
      </pc:sldChg>
      <pc:sldChg chg="del">
        <pc:chgData name="Meyer Raphael (PAR-ES)" userId="79615dfe-ed48-4e74-a40f-4f7b034c1c27" providerId="ADAL" clId="{9C3B3081-711B-47CA-B6D3-9CEBB9DB5DFD}" dt="2021-05-27T06:58:46.931" v="214" actId="2696"/>
        <pc:sldMkLst>
          <pc:docMk/>
          <pc:sldMk cId="1952189380" sldId="356"/>
        </pc:sldMkLst>
      </pc:sldChg>
      <pc:sldChg chg="modSp del mod">
        <pc:chgData name="Meyer Raphael (PAR-ES)" userId="79615dfe-ed48-4e74-a40f-4f7b034c1c27" providerId="ADAL" clId="{9C3B3081-711B-47CA-B6D3-9CEBB9DB5DFD}" dt="2021-05-27T06:59:59.827" v="224" actId="2696"/>
        <pc:sldMkLst>
          <pc:docMk/>
          <pc:sldMk cId="3480515475" sldId="357"/>
        </pc:sldMkLst>
        <pc:spChg chg="mod">
          <ac:chgData name="Meyer Raphael (PAR-ES)" userId="79615dfe-ed48-4e74-a40f-4f7b034c1c27" providerId="ADAL" clId="{9C3B3081-711B-47CA-B6D3-9CEBB9DB5DFD}" dt="2021-05-27T06:59:29.711" v="220" actId="20577"/>
          <ac:spMkLst>
            <pc:docMk/>
            <pc:sldMk cId="3480515475" sldId="357"/>
            <ac:spMk id="8" creationId="{5857C2A1-2CB8-4D4A-AEFD-E809BF73D04F}"/>
          </ac:spMkLst>
        </pc:spChg>
      </pc:sldChg>
      <pc:sldChg chg="addSp delSp modSp add mod ord">
        <pc:chgData name="Meyer Raphael (PAR-ES)" userId="79615dfe-ed48-4e74-a40f-4f7b034c1c27" providerId="ADAL" clId="{9C3B3081-711B-47CA-B6D3-9CEBB9DB5DFD}" dt="2021-05-27T06:58:32.197" v="213"/>
        <pc:sldMkLst>
          <pc:docMk/>
          <pc:sldMk cId="1357620443" sldId="359"/>
        </pc:sldMkLst>
        <pc:spChg chg="mod">
          <ac:chgData name="Meyer Raphael (PAR-ES)" userId="79615dfe-ed48-4e74-a40f-4f7b034c1c27" providerId="ADAL" clId="{9C3B3081-711B-47CA-B6D3-9CEBB9DB5DFD}" dt="2021-05-27T06:58:03.226" v="210"/>
          <ac:spMkLst>
            <pc:docMk/>
            <pc:sldMk cId="1357620443" sldId="359"/>
            <ac:spMk id="2" creationId="{A2DC317F-F1F4-4624-8FC1-3B68C1DBB3DA}"/>
          </ac:spMkLst>
        </pc:spChg>
        <pc:spChg chg="del">
          <ac:chgData name="Meyer Raphael (PAR-ES)" userId="79615dfe-ed48-4e74-a40f-4f7b034c1c27" providerId="ADAL" clId="{9C3B3081-711B-47CA-B6D3-9CEBB9DB5DFD}" dt="2021-05-27T06:57:46.158" v="208" actId="478"/>
          <ac:spMkLst>
            <pc:docMk/>
            <pc:sldMk cId="1357620443" sldId="359"/>
            <ac:spMk id="7" creationId="{BA3F9A72-0541-4D1F-8CD8-1C2B8074FA1B}"/>
          </ac:spMkLst>
        </pc:spChg>
        <pc:spChg chg="mod">
          <ac:chgData name="Meyer Raphael (PAR-ES)" userId="79615dfe-ed48-4e74-a40f-4f7b034c1c27" providerId="ADAL" clId="{9C3B3081-711B-47CA-B6D3-9CEBB9DB5DFD}" dt="2021-05-27T06:58:17.657" v="212"/>
          <ac:spMkLst>
            <pc:docMk/>
            <pc:sldMk cId="1357620443" sldId="359"/>
            <ac:spMk id="8" creationId="{5857C2A1-2CB8-4D4A-AEFD-E809BF73D04F}"/>
          </ac:spMkLst>
        </pc:spChg>
        <pc:spChg chg="del">
          <ac:chgData name="Meyer Raphael (PAR-ES)" userId="79615dfe-ed48-4e74-a40f-4f7b034c1c27" providerId="ADAL" clId="{9C3B3081-711B-47CA-B6D3-9CEBB9DB5DFD}" dt="2021-05-27T06:57:46.158" v="208" actId="478"/>
          <ac:spMkLst>
            <pc:docMk/>
            <pc:sldMk cId="1357620443" sldId="359"/>
            <ac:spMk id="9" creationId="{B6990B61-32B2-4ADC-BF01-EDF7B4080F97}"/>
          </ac:spMkLst>
        </pc:spChg>
        <pc:spChg chg="mod">
          <ac:chgData name="Meyer Raphael (PAR-ES)" userId="79615dfe-ed48-4e74-a40f-4f7b034c1c27" providerId="ADAL" clId="{9C3B3081-711B-47CA-B6D3-9CEBB9DB5DFD}" dt="2021-05-27T06:58:10.620" v="211"/>
          <ac:spMkLst>
            <pc:docMk/>
            <pc:sldMk cId="1357620443" sldId="359"/>
            <ac:spMk id="10" creationId="{077DFD58-E5EE-4B68-9325-D935DB04DD40}"/>
          </ac:spMkLst>
        </pc:spChg>
        <pc:spChg chg="del">
          <ac:chgData name="Meyer Raphael (PAR-ES)" userId="79615dfe-ed48-4e74-a40f-4f7b034c1c27" providerId="ADAL" clId="{9C3B3081-711B-47CA-B6D3-9CEBB9DB5DFD}" dt="2021-05-27T06:57:46.158" v="208" actId="478"/>
          <ac:spMkLst>
            <pc:docMk/>
            <pc:sldMk cId="1357620443" sldId="359"/>
            <ac:spMk id="17" creationId="{785E740C-F94A-4208-8DFD-63A603C16577}"/>
          </ac:spMkLst>
        </pc:spChg>
        <pc:spChg chg="add mod">
          <ac:chgData name="Meyer Raphael (PAR-ES)" userId="79615dfe-ed48-4e74-a40f-4f7b034c1c27" providerId="ADAL" clId="{9C3B3081-711B-47CA-B6D3-9CEBB9DB5DFD}" dt="2021-05-27T06:57:55.348" v="209"/>
          <ac:spMkLst>
            <pc:docMk/>
            <pc:sldMk cId="1357620443" sldId="359"/>
            <ac:spMk id="21" creationId="{925F7354-10FA-48C5-92CE-49F9F8E62575}"/>
          </ac:spMkLst>
        </pc:spChg>
        <pc:spChg chg="add mod">
          <ac:chgData name="Meyer Raphael (PAR-ES)" userId="79615dfe-ed48-4e74-a40f-4f7b034c1c27" providerId="ADAL" clId="{9C3B3081-711B-47CA-B6D3-9CEBB9DB5DFD}" dt="2021-05-27T06:57:55.348" v="209"/>
          <ac:spMkLst>
            <pc:docMk/>
            <pc:sldMk cId="1357620443" sldId="359"/>
            <ac:spMk id="22" creationId="{74D5751A-9030-4AD6-B445-4C8B8C98FF78}"/>
          </ac:spMkLst>
        </pc:spChg>
        <pc:spChg chg="add mod">
          <ac:chgData name="Meyer Raphael (PAR-ES)" userId="79615dfe-ed48-4e74-a40f-4f7b034c1c27" providerId="ADAL" clId="{9C3B3081-711B-47CA-B6D3-9CEBB9DB5DFD}" dt="2021-05-27T06:57:55.348" v="209"/>
          <ac:spMkLst>
            <pc:docMk/>
            <pc:sldMk cId="1357620443" sldId="359"/>
            <ac:spMk id="23" creationId="{64EFDE9B-457B-4EF0-9004-B4241920D27B}"/>
          </ac:spMkLst>
        </pc:spChg>
        <pc:spChg chg="add mod">
          <ac:chgData name="Meyer Raphael (PAR-ES)" userId="79615dfe-ed48-4e74-a40f-4f7b034c1c27" providerId="ADAL" clId="{9C3B3081-711B-47CA-B6D3-9CEBB9DB5DFD}" dt="2021-05-27T06:57:55.348" v="209"/>
          <ac:spMkLst>
            <pc:docMk/>
            <pc:sldMk cId="1357620443" sldId="359"/>
            <ac:spMk id="25" creationId="{E3CB85A7-74FA-4AE2-AAE4-EE0E09B20508}"/>
          </ac:spMkLst>
        </pc:spChg>
        <pc:spChg chg="del">
          <ac:chgData name="Meyer Raphael (PAR-ES)" userId="79615dfe-ed48-4e74-a40f-4f7b034c1c27" providerId="ADAL" clId="{9C3B3081-711B-47CA-B6D3-9CEBB9DB5DFD}" dt="2021-05-27T06:57:46.158" v="208" actId="478"/>
          <ac:spMkLst>
            <pc:docMk/>
            <pc:sldMk cId="1357620443" sldId="359"/>
            <ac:spMk id="26" creationId="{BFD498B5-D73E-4C8A-9FAF-B3547647538C}"/>
          </ac:spMkLst>
        </pc:spChg>
        <pc:spChg chg="mod">
          <ac:chgData name="Meyer Raphael (PAR-ES)" userId="79615dfe-ed48-4e74-a40f-4f7b034c1c27" providerId="ADAL" clId="{9C3B3081-711B-47CA-B6D3-9CEBB9DB5DFD}" dt="2021-05-27T06:58:32.197" v="213"/>
          <ac:spMkLst>
            <pc:docMk/>
            <pc:sldMk cId="1357620443" sldId="359"/>
            <ac:spMk id="27" creationId="{46A6B042-39EE-4A58-BBAA-13D52264B660}"/>
          </ac:spMkLst>
        </pc:spChg>
      </pc:sldChg>
      <pc:sldChg chg="addSp delSp modSp add mod ord">
        <pc:chgData name="Meyer Raphael (PAR-ES)" userId="79615dfe-ed48-4e74-a40f-4f7b034c1c27" providerId="ADAL" clId="{9C3B3081-711B-47CA-B6D3-9CEBB9DB5DFD}" dt="2021-05-27T06:59:48.985" v="223" actId="14100"/>
        <pc:sldMkLst>
          <pc:docMk/>
          <pc:sldMk cId="2316055797" sldId="360"/>
        </pc:sldMkLst>
        <pc:spChg chg="mod">
          <ac:chgData name="Meyer Raphael (PAR-ES)" userId="79615dfe-ed48-4e74-a40f-4f7b034c1c27" providerId="ADAL" clId="{9C3B3081-711B-47CA-B6D3-9CEBB9DB5DFD}" dt="2021-05-27T06:59:17.330" v="217"/>
          <ac:spMkLst>
            <pc:docMk/>
            <pc:sldMk cId="2316055797" sldId="360"/>
            <ac:spMk id="2" creationId="{A2DC317F-F1F4-4624-8FC1-3B68C1DBB3DA}"/>
          </ac:spMkLst>
        </pc:spChg>
        <pc:spChg chg="del">
          <ac:chgData name="Meyer Raphael (PAR-ES)" userId="79615dfe-ed48-4e74-a40f-4f7b034c1c27" providerId="ADAL" clId="{9C3B3081-711B-47CA-B6D3-9CEBB9DB5DFD}" dt="2021-05-27T06:59:00.588" v="215" actId="478"/>
          <ac:spMkLst>
            <pc:docMk/>
            <pc:sldMk cId="2316055797" sldId="360"/>
            <ac:spMk id="7" creationId="{BA3F9A72-0541-4D1F-8CD8-1C2B8074FA1B}"/>
          </ac:spMkLst>
        </pc:spChg>
        <pc:spChg chg="mod">
          <ac:chgData name="Meyer Raphael (PAR-ES)" userId="79615dfe-ed48-4e74-a40f-4f7b034c1c27" providerId="ADAL" clId="{9C3B3081-711B-47CA-B6D3-9CEBB9DB5DFD}" dt="2021-05-27T06:59:34.170" v="221"/>
          <ac:spMkLst>
            <pc:docMk/>
            <pc:sldMk cId="2316055797" sldId="360"/>
            <ac:spMk id="8" creationId="{5857C2A1-2CB8-4D4A-AEFD-E809BF73D04F}"/>
          </ac:spMkLst>
        </pc:spChg>
        <pc:spChg chg="del">
          <ac:chgData name="Meyer Raphael (PAR-ES)" userId="79615dfe-ed48-4e74-a40f-4f7b034c1c27" providerId="ADAL" clId="{9C3B3081-711B-47CA-B6D3-9CEBB9DB5DFD}" dt="2021-05-27T06:59:00.588" v="215" actId="478"/>
          <ac:spMkLst>
            <pc:docMk/>
            <pc:sldMk cId="2316055797" sldId="360"/>
            <ac:spMk id="9" creationId="{B6990B61-32B2-4ADC-BF01-EDF7B4080F97}"/>
          </ac:spMkLst>
        </pc:spChg>
        <pc:spChg chg="mod">
          <ac:chgData name="Meyer Raphael (PAR-ES)" userId="79615dfe-ed48-4e74-a40f-4f7b034c1c27" providerId="ADAL" clId="{9C3B3081-711B-47CA-B6D3-9CEBB9DB5DFD}" dt="2021-05-27T06:59:24.521" v="218"/>
          <ac:spMkLst>
            <pc:docMk/>
            <pc:sldMk cId="2316055797" sldId="360"/>
            <ac:spMk id="10" creationId="{077DFD58-E5EE-4B68-9325-D935DB04DD40}"/>
          </ac:spMkLst>
        </pc:spChg>
        <pc:spChg chg="del">
          <ac:chgData name="Meyer Raphael (PAR-ES)" userId="79615dfe-ed48-4e74-a40f-4f7b034c1c27" providerId="ADAL" clId="{9C3B3081-711B-47CA-B6D3-9CEBB9DB5DFD}" dt="2021-05-27T06:59:00.588" v="215" actId="478"/>
          <ac:spMkLst>
            <pc:docMk/>
            <pc:sldMk cId="2316055797" sldId="360"/>
            <ac:spMk id="17" creationId="{785E740C-F94A-4208-8DFD-63A603C16577}"/>
          </ac:spMkLst>
        </pc:spChg>
        <pc:spChg chg="add mod">
          <ac:chgData name="Meyer Raphael (PAR-ES)" userId="79615dfe-ed48-4e74-a40f-4f7b034c1c27" providerId="ADAL" clId="{9C3B3081-711B-47CA-B6D3-9CEBB9DB5DFD}" dt="2021-05-27T06:59:08.197" v="216"/>
          <ac:spMkLst>
            <pc:docMk/>
            <pc:sldMk cId="2316055797" sldId="360"/>
            <ac:spMk id="21" creationId="{305CE7A0-585D-4B94-B71B-7CB1CCDAB621}"/>
          </ac:spMkLst>
        </pc:spChg>
        <pc:spChg chg="add mod">
          <ac:chgData name="Meyer Raphael (PAR-ES)" userId="79615dfe-ed48-4e74-a40f-4f7b034c1c27" providerId="ADAL" clId="{9C3B3081-711B-47CA-B6D3-9CEBB9DB5DFD}" dt="2021-05-27T06:59:08.197" v="216"/>
          <ac:spMkLst>
            <pc:docMk/>
            <pc:sldMk cId="2316055797" sldId="360"/>
            <ac:spMk id="22" creationId="{A51D6DF2-55B9-4EEE-B3DF-83505D1EC6C0}"/>
          </ac:spMkLst>
        </pc:spChg>
        <pc:spChg chg="add mod">
          <ac:chgData name="Meyer Raphael (PAR-ES)" userId="79615dfe-ed48-4e74-a40f-4f7b034c1c27" providerId="ADAL" clId="{9C3B3081-711B-47CA-B6D3-9CEBB9DB5DFD}" dt="2021-05-27T06:59:08.197" v="216"/>
          <ac:spMkLst>
            <pc:docMk/>
            <pc:sldMk cId="2316055797" sldId="360"/>
            <ac:spMk id="23" creationId="{A3EF9284-5DC4-4DDF-BE7D-B40AB2256FE2}"/>
          </ac:spMkLst>
        </pc:spChg>
        <pc:spChg chg="add mod">
          <ac:chgData name="Meyer Raphael (PAR-ES)" userId="79615dfe-ed48-4e74-a40f-4f7b034c1c27" providerId="ADAL" clId="{9C3B3081-711B-47CA-B6D3-9CEBB9DB5DFD}" dt="2021-05-27T06:59:08.197" v="216"/>
          <ac:spMkLst>
            <pc:docMk/>
            <pc:sldMk cId="2316055797" sldId="360"/>
            <ac:spMk id="25" creationId="{E1CC4D16-4833-4590-ABC6-5BA7344E003B}"/>
          </ac:spMkLst>
        </pc:spChg>
        <pc:spChg chg="del">
          <ac:chgData name="Meyer Raphael (PAR-ES)" userId="79615dfe-ed48-4e74-a40f-4f7b034c1c27" providerId="ADAL" clId="{9C3B3081-711B-47CA-B6D3-9CEBB9DB5DFD}" dt="2021-05-27T06:59:00.588" v="215" actId="478"/>
          <ac:spMkLst>
            <pc:docMk/>
            <pc:sldMk cId="2316055797" sldId="360"/>
            <ac:spMk id="26" creationId="{BFD498B5-D73E-4C8A-9FAF-B3547647538C}"/>
          </ac:spMkLst>
        </pc:spChg>
        <pc:spChg chg="mod">
          <ac:chgData name="Meyer Raphael (PAR-ES)" userId="79615dfe-ed48-4e74-a40f-4f7b034c1c27" providerId="ADAL" clId="{9C3B3081-711B-47CA-B6D3-9CEBB9DB5DFD}" dt="2021-05-27T06:59:48.985" v="223" actId="14100"/>
          <ac:spMkLst>
            <pc:docMk/>
            <pc:sldMk cId="2316055797" sldId="360"/>
            <ac:spMk id="27" creationId="{46A6B042-39EE-4A58-BBAA-13D52264B660}"/>
          </ac:spMkLst>
        </pc:spChg>
      </pc:sldChg>
    </pc:docChg>
  </pc:docChgLst>
  <pc:docChgLst>
    <pc:chgData name="Meyer Raphael (PAR-ES)" userId="79615dfe-ed48-4e74-a40f-4f7b034c1c27" providerId="ADAL" clId="{03B58AC3-EEA0-4B80-B319-B65A39D0367A}"/>
    <pc:docChg chg="custSel delSld modSld">
      <pc:chgData name="Meyer Raphael (PAR-ES)" userId="79615dfe-ed48-4e74-a40f-4f7b034c1c27" providerId="ADAL" clId="{03B58AC3-EEA0-4B80-B319-B65A39D0367A}" dt="2021-06-14T08:15:01.320" v="32" actId="478"/>
      <pc:docMkLst>
        <pc:docMk/>
      </pc:docMkLst>
      <pc:sldChg chg="addSp delSp modSp mod">
        <pc:chgData name="Meyer Raphael (PAR-ES)" userId="79615dfe-ed48-4e74-a40f-4f7b034c1c27" providerId="ADAL" clId="{03B58AC3-EEA0-4B80-B319-B65A39D0367A}" dt="2021-06-14T08:15:01.320" v="32" actId="478"/>
        <pc:sldMkLst>
          <pc:docMk/>
          <pc:sldMk cId="1495152177" sldId="298"/>
        </pc:sldMkLst>
        <pc:cxnChg chg="add del mod">
          <ac:chgData name="Meyer Raphael (PAR-ES)" userId="79615dfe-ed48-4e74-a40f-4f7b034c1c27" providerId="ADAL" clId="{03B58AC3-EEA0-4B80-B319-B65A39D0367A}" dt="2021-06-14T08:15:01.320" v="32" actId="478"/>
          <ac:cxnSpMkLst>
            <pc:docMk/>
            <pc:sldMk cId="1495152177" sldId="298"/>
            <ac:cxnSpMk id="9" creationId="{3D0914DF-E02F-4F5D-9F2B-08EF642F8FBC}"/>
          </ac:cxnSpMkLst>
        </pc:cxnChg>
      </pc:sldChg>
      <pc:sldChg chg="del">
        <pc:chgData name="Meyer Raphael (PAR-ES)" userId="79615dfe-ed48-4e74-a40f-4f7b034c1c27" providerId="ADAL" clId="{03B58AC3-EEA0-4B80-B319-B65A39D0367A}" dt="2021-06-14T08:01:54.366" v="0" actId="47"/>
        <pc:sldMkLst>
          <pc:docMk/>
          <pc:sldMk cId="2817904021" sldId="319"/>
        </pc:sldMkLst>
      </pc:sldChg>
      <pc:sldChg chg="del">
        <pc:chgData name="Meyer Raphael (PAR-ES)" userId="79615dfe-ed48-4e74-a40f-4f7b034c1c27" providerId="ADAL" clId="{03B58AC3-EEA0-4B80-B319-B65A39D0367A}" dt="2021-06-14T08:05:10.770" v="3" actId="2696"/>
        <pc:sldMkLst>
          <pc:docMk/>
          <pc:sldMk cId="202659337" sldId="320"/>
        </pc:sldMkLst>
      </pc:sldChg>
      <pc:sldChg chg="modSp mod">
        <pc:chgData name="Meyer Raphael (PAR-ES)" userId="79615dfe-ed48-4e74-a40f-4f7b034c1c27" providerId="ADAL" clId="{03B58AC3-EEA0-4B80-B319-B65A39D0367A}" dt="2021-06-14T08:09:52.886" v="25" actId="20577"/>
        <pc:sldMkLst>
          <pc:docMk/>
          <pc:sldMk cId="1559304935" sldId="363"/>
        </pc:sldMkLst>
        <pc:spChg chg="mod">
          <ac:chgData name="Meyer Raphael (PAR-ES)" userId="79615dfe-ed48-4e74-a40f-4f7b034c1c27" providerId="ADAL" clId="{03B58AC3-EEA0-4B80-B319-B65A39D0367A}" dt="2021-06-14T08:09:52.886" v="25" actId="20577"/>
          <ac:spMkLst>
            <pc:docMk/>
            <pc:sldMk cId="1559304935" sldId="363"/>
            <ac:spMk id="7" creationId="{51421822-C303-4FC2-BF5E-F4377E568635}"/>
          </ac:spMkLst>
        </pc:spChg>
      </pc:sldChg>
      <pc:sldChg chg="modSp mod">
        <pc:chgData name="Meyer Raphael (PAR-ES)" userId="79615dfe-ed48-4e74-a40f-4f7b034c1c27" providerId="ADAL" clId="{03B58AC3-EEA0-4B80-B319-B65A39D0367A}" dt="2021-06-14T08:09:43.934" v="19" actId="20577"/>
        <pc:sldMkLst>
          <pc:docMk/>
          <pc:sldMk cId="2043265091" sldId="364"/>
        </pc:sldMkLst>
        <pc:spChg chg="mod">
          <ac:chgData name="Meyer Raphael (PAR-ES)" userId="79615dfe-ed48-4e74-a40f-4f7b034c1c27" providerId="ADAL" clId="{03B58AC3-EEA0-4B80-B319-B65A39D0367A}" dt="2021-06-14T08:04:26.604" v="1"/>
          <ac:spMkLst>
            <pc:docMk/>
            <pc:sldMk cId="2043265091" sldId="364"/>
            <ac:spMk id="2" creationId="{A2DC317F-F1F4-4624-8FC1-3B68C1DBB3DA}"/>
          </ac:spMkLst>
        </pc:spChg>
        <pc:spChg chg="mod">
          <ac:chgData name="Meyer Raphael (PAR-ES)" userId="79615dfe-ed48-4e74-a40f-4f7b034c1c27" providerId="ADAL" clId="{03B58AC3-EEA0-4B80-B319-B65A39D0367A}" dt="2021-06-14T08:09:31.781" v="13" actId="1076"/>
          <ac:spMkLst>
            <pc:docMk/>
            <pc:sldMk cId="2043265091" sldId="364"/>
            <ac:spMk id="6" creationId="{0EEE4EA3-E16E-424B-97F9-53A8F5D585AE}"/>
          </ac:spMkLst>
        </pc:spChg>
        <pc:spChg chg="mod">
          <ac:chgData name="Meyer Raphael (PAR-ES)" userId="79615dfe-ed48-4e74-a40f-4f7b034c1c27" providerId="ADAL" clId="{03B58AC3-EEA0-4B80-B319-B65A39D0367A}" dt="2021-06-14T08:09:43.934" v="19" actId="20577"/>
          <ac:spMkLst>
            <pc:docMk/>
            <pc:sldMk cId="2043265091" sldId="364"/>
            <ac:spMk id="7" creationId="{51421822-C303-4FC2-BF5E-F4377E568635}"/>
          </ac:spMkLst>
        </pc:spChg>
        <pc:spChg chg="mod">
          <ac:chgData name="Meyer Raphael (PAR-ES)" userId="79615dfe-ed48-4e74-a40f-4f7b034c1c27" providerId="ADAL" clId="{03B58AC3-EEA0-4B80-B319-B65A39D0367A}" dt="2021-06-14T08:04:34.562" v="2"/>
          <ac:spMkLst>
            <pc:docMk/>
            <pc:sldMk cId="2043265091" sldId="364"/>
            <ac:spMk id="10" creationId="{077DFD58-E5EE-4B68-9325-D935DB04DD40}"/>
          </ac:spMkLst>
        </pc:spChg>
      </pc:sldChg>
    </pc:docChg>
  </pc:docChgLst>
  <pc:docChgLst>
    <pc:chgData name="Meyer Raphael (PAR-ES)" userId="79615dfe-ed48-4e74-a40f-4f7b034c1c27" providerId="ADAL" clId="{EAA1A0B4-0AC9-439E-AF8B-B8D190C4CB46}"/>
    <pc:docChg chg="modSld">
      <pc:chgData name="Meyer Raphael (PAR-ES)" userId="79615dfe-ed48-4e74-a40f-4f7b034c1c27" providerId="ADAL" clId="{EAA1A0B4-0AC9-439E-AF8B-B8D190C4CB46}" dt="2021-05-28T12:30:01.979" v="43" actId="1037"/>
      <pc:docMkLst>
        <pc:docMk/>
      </pc:docMkLst>
      <pc:sldChg chg="modSp mod">
        <pc:chgData name="Meyer Raphael (PAR-ES)" userId="79615dfe-ed48-4e74-a40f-4f7b034c1c27" providerId="ADAL" clId="{EAA1A0B4-0AC9-439E-AF8B-B8D190C4CB46}" dt="2021-05-28T12:30:01.979" v="43" actId="1037"/>
        <pc:sldMkLst>
          <pc:docMk/>
          <pc:sldMk cId="1495152177" sldId="298"/>
        </pc:sldMkLst>
        <pc:spChg chg="mod">
          <ac:chgData name="Meyer Raphael (PAR-ES)" userId="79615dfe-ed48-4e74-a40f-4f7b034c1c27" providerId="ADAL" clId="{EAA1A0B4-0AC9-439E-AF8B-B8D190C4CB46}" dt="2021-05-28T12:30:01.979" v="43" actId="1037"/>
          <ac:spMkLst>
            <pc:docMk/>
            <pc:sldMk cId="1495152177" sldId="298"/>
            <ac:spMk id="12" creationId="{970D2C07-63A2-4265-B006-56F685FE80A5}"/>
          </ac:spMkLst>
        </pc:spChg>
        <pc:spChg chg="mod">
          <ac:chgData name="Meyer Raphael (PAR-ES)" userId="79615dfe-ed48-4e74-a40f-4f7b034c1c27" providerId="ADAL" clId="{EAA1A0B4-0AC9-439E-AF8B-B8D190C4CB46}" dt="2021-05-28T12:30:01.979" v="43" actId="1037"/>
          <ac:spMkLst>
            <pc:docMk/>
            <pc:sldMk cId="1495152177" sldId="298"/>
            <ac:spMk id="13" creationId="{93412675-62AA-41D8-997C-4E877ED953A8}"/>
          </ac:spMkLst>
        </pc:spChg>
        <pc:cxnChg chg="mod">
          <ac:chgData name="Meyer Raphael (PAR-ES)" userId="79615dfe-ed48-4e74-a40f-4f7b034c1c27" providerId="ADAL" clId="{EAA1A0B4-0AC9-439E-AF8B-B8D190C4CB46}" dt="2021-05-28T12:30:01.979" v="43" actId="1037"/>
          <ac:cxnSpMkLst>
            <pc:docMk/>
            <pc:sldMk cId="1495152177" sldId="298"/>
            <ac:cxnSpMk id="8" creationId="{6F3EB9D3-E612-42D9-859B-1905BD876C26}"/>
          </ac:cxnSpMkLst>
        </pc:cxnChg>
      </pc:sldChg>
    </pc:docChg>
  </pc:docChgLst>
  <pc:docChgLst>
    <pc:chgData name="Meyer Raphael (PAR-ES)" userId="79615dfe-ed48-4e74-a40f-4f7b034c1c27" providerId="ADAL" clId="{6CBE310B-8AD8-4E27-BE2B-82789F9F801F}"/>
    <pc:docChg chg="undo custSel addSld delSld modSld sldOrd">
      <pc:chgData name="Meyer Raphael (PAR-ES)" userId="79615dfe-ed48-4e74-a40f-4f7b034c1c27" providerId="ADAL" clId="{6CBE310B-8AD8-4E27-BE2B-82789F9F801F}" dt="2021-02-25T08:18:46.817" v="126" actId="2696"/>
      <pc:docMkLst>
        <pc:docMk/>
      </pc:docMkLst>
      <pc:sldChg chg="delSp modSp mod">
        <pc:chgData name="Meyer Raphael (PAR-ES)" userId="79615dfe-ed48-4e74-a40f-4f7b034c1c27" providerId="ADAL" clId="{6CBE310B-8AD8-4E27-BE2B-82789F9F801F}" dt="2021-02-25T08:14:28.668" v="102" actId="1038"/>
        <pc:sldMkLst>
          <pc:docMk/>
          <pc:sldMk cId="1667945532" sldId="306"/>
        </pc:sldMkLst>
        <pc:spChg chg="mod">
          <ac:chgData name="Meyer Raphael (PAR-ES)" userId="79615dfe-ed48-4e74-a40f-4f7b034c1c27" providerId="ADAL" clId="{6CBE310B-8AD8-4E27-BE2B-82789F9F801F}" dt="2021-02-25T07:48:08.820" v="1" actId="20577"/>
          <ac:spMkLst>
            <pc:docMk/>
            <pc:sldMk cId="1667945532" sldId="306"/>
            <ac:spMk id="8" creationId="{5857C2A1-2CB8-4D4A-AEFD-E809BF73D04F}"/>
          </ac:spMkLst>
        </pc:spChg>
        <pc:spChg chg="mod">
          <ac:chgData name="Meyer Raphael (PAR-ES)" userId="79615dfe-ed48-4e74-a40f-4f7b034c1c27" providerId="ADAL" clId="{6CBE310B-8AD8-4E27-BE2B-82789F9F801F}" dt="2021-02-25T07:48:46.976" v="11" actId="20577"/>
          <ac:spMkLst>
            <pc:docMk/>
            <pc:sldMk cId="1667945532" sldId="306"/>
            <ac:spMk id="27" creationId="{46A6B042-39EE-4A58-BBAA-13D52264B660}"/>
          </ac:spMkLst>
        </pc:spChg>
        <pc:spChg chg="mod">
          <ac:chgData name="Meyer Raphael (PAR-ES)" userId="79615dfe-ed48-4e74-a40f-4f7b034c1c27" providerId="ADAL" clId="{6CBE310B-8AD8-4E27-BE2B-82789F9F801F}" dt="2021-02-25T07:54:24.328" v="53" actId="1076"/>
          <ac:spMkLst>
            <pc:docMk/>
            <pc:sldMk cId="1667945532" sldId="306"/>
            <ac:spMk id="28" creationId="{4492A3CD-6943-423D-BFEC-8129889E8B6F}"/>
          </ac:spMkLst>
        </pc:spChg>
        <pc:spChg chg="mod">
          <ac:chgData name="Meyer Raphael (PAR-ES)" userId="79615dfe-ed48-4e74-a40f-4f7b034c1c27" providerId="ADAL" clId="{6CBE310B-8AD8-4E27-BE2B-82789F9F801F}" dt="2021-02-25T07:49:12.400" v="15" actId="20577"/>
          <ac:spMkLst>
            <pc:docMk/>
            <pc:sldMk cId="1667945532" sldId="306"/>
            <ac:spMk id="31" creationId="{7491A47D-CAD4-478D-8F3A-296FFCB799F9}"/>
          </ac:spMkLst>
        </pc:spChg>
        <pc:spChg chg="mod">
          <ac:chgData name="Meyer Raphael (PAR-ES)" userId="79615dfe-ed48-4e74-a40f-4f7b034c1c27" providerId="ADAL" clId="{6CBE310B-8AD8-4E27-BE2B-82789F9F801F}" dt="2021-02-25T07:51:57.390" v="34" actId="1076"/>
          <ac:spMkLst>
            <pc:docMk/>
            <pc:sldMk cId="1667945532" sldId="306"/>
            <ac:spMk id="32" creationId="{E65DDA4F-7190-4D5B-B875-6818D18C9F6E}"/>
          </ac:spMkLst>
        </pc:spChg>
        <pc:spChg chg="del">
          <ac:chgData name="Meyer Raphael (PAR-ES)" userId="79615dfe-ed48-4e74-a40f-4f7b034c1c27" providerId="ADAL" clId="{6CBE310B-8AD8-4E27-BE2B-82789F9F801F}" dt="2021-02-25T08:12:39.627" v="79" actId="478"/>
          <ac:spMkLst>
            <pc:docMk/>
            <pc:sldMk cId="1667945532" sldId="306"/>
            <ac:spMk id="33" creationId="{9EBB3871-416B-408E-B57A-A89D014D2D8E}"/>
          </ac:spMkLst>
        </pc:spChg>
        <pc:spChg chg="del mod">
          <ac:chgData name="Meyer Raphael (PAR-ES)" userId="79615dfe-ed48-4e74-a40f-4f7b034c1c27" providerId="ADAL" clId="{6CBE310B-8AD8-4E27-BE2B-82789F9F801F}" dt="2021-02-25T08:10:14.103" v="78" actId="478"/>
          <ac:spMkLst>
            <pc:docMk/>
            <pc:sldMk cId="1667945532" sldId="306"/>
            <ac:spMk id="37" creationId="{16628D91-C37D-41C8-A84A-DDEB3E2C1246}"/>
          </ac:spMkLst>
        </pc:spChg>
        <pc:graphicFrameChg chg="mod">
          <ac:chgData name="Meyer Raphael (PAR-ES)" userId="79615dfe-ed48-4e74-a40f-4f7b034c1c27" providerId="ADAL" clId="{6CBE310B-8AD8-4E27-BE2B-82789F9F801F}" dt="2021-02-25T08:03:18.828" v="75" actId="692"/>
          <ac:graphicFrameMkLst>
            <pc:docMk/>
            <pc:sldMk cId="1667945532" sldId="306"/>
            <ac:graphicFrameMk id="5" creationId="{4CF6AB8B-CAB9-4C7E-8E59-E00357A4D7F0}"/>
          </ac:graphicFrameMkLst>
        </pc:graphicFrameChg>
        <pc:graphicFrameChg chg="mod">
          <ac:chgData name="Meyer Raphael (PAR-ES)" userId="79615dfe-ed48-4e74-a40f-4f7b034c1c27" providerId="ADAL" clId="{6CBE310B-8AD8-4E27-BE2B-82789F9F801F}" dt="2021-02-25T07:58:00.368" v="72"/>
          <ac:graphicFrameMkLst>
            <pc:docMk/>
            <pc:sldMk cId="1667945532" sldId="306"/>
            <ac:graphicFrameMk id="24" creationId="{B6049B58-D743-4BF8-ADBD-2CBD12961E56}"/>
          </ac:graphicFrameMkLst>
        </pc:graphicFrameChg>
        <pc:cxnChg chg="mod">
          <ac:chgData name="Meyer Raphael (PAR-ES)" userId="79615dfe-ed48-4e74-a40f-4f7b034c1c27" providerId="ADAL" clId="{6CBE310B-8AD8-4E27-BE2B-82789F9F801F}" dt="2021-02-25T08:14:28.668" v="102" actId="1038"/>
          <ac:cxnSpMkLst>
            <pc:docMk/>
            <pc:sldMk cId="1667945532" sldId="306"/>
            <ac:cxnSpMk id="20" creationId="{07FCC63F-5E2F-43DF-84ED-5FFEC92A0042}"/>
          </ac:cxnSpMkLst>
        </pc:cxnChg>
        <pc:cxnChg chg="mod">
          <ac:chgData name="Meyer Raphael (PAR-ES)" userId="79615dfe-ed48-4e74-a40f-4f7b034c1c27" providerId="ADAL" clId="{6CBE310B-8AD8-4E27-BE2B-82789F9F801F}" dt="2021-02-25T08:13:35.433" v="96" actId="1038"/>
          <ac:cxnSpMkLst>
            <pc:docMk/>
            <pc:sldMk cId="1667945532" sldId="306"/>
            <ac:cxnSpMk id="30" creationId="{1D702FCA-793F-404B-84D5-F14C318BFFB3}"/>
          </ac:cxnSpMkLst>
        </pc:cxnChg>
      </pc:sldChg>
      <pc:sldChg chg="modSp">
        <pc:chgData name="Meyer Raphael (PAR-ES)" userId="79615dfe-ed48-4e74-a40f-4f7b034c1c27" providerId="ADAL" clId="{6CBE310B-8AD8-4E27-BE2B-82789F9F801F}" dt="2021-02-25T08:08:52.754" v="76" actId="692"/>
        <pc:sldMkLst>
          <pc:docMk/>
          <pc:sldMk cId="277025245" sldId="325"/>
        </pc:sldMkLst>
        <pc:graphicFrameChg chg="mod">
          <ac:chgData name="Meyer Raphael (PAR-ES)" userId="79615dfe-ed48-4e74-a40f-4f7b034c1c27" providerId="ADAL" clId="{6CBE310B-8AD8-4E27-BE2B-82789F9F801F}" dt="2021-02-25T08:08:52.754" v="76" actId="692"/>
          <ac:graphicFrameMkLst>
            <pc:docMk/>
            <pc:sldMk cId="277025245" sldId="325"/>
            <ac:graphicFrameMk id="5" creationId="{4CF6AB8B-CAB9-4C7E-8E59-E00357A4D7F0}"/>
          </ac:graphicFrameMkLst>
        </pc:graphicFrameChg>
      </pc:sldChg>
      <pc:sldChg chg="del">
        <pc:chgData name="Meyer Raphael (PAR-ES)" userId="79615dfe-ed48-4e74-a40f-4f7b034c1c27" providerId="ADAL" clId="{6CBE310B-8AD8-4E27-BE2B-82789F9F801F}" dt="2021-02-25T08:18:46.817" v="126" actId="2696"/>
        <pc:sldMkLst>
          <pc:docMk/>
          <pc:sldMk cId="1861201491" sldId="330"/>
        </pc:sldMkLst>
      </pc:sldChg>
      <pc:sldChg chg="add del">
        <pc:chgData name="Meyer Raphael (PAR-ES)" userId="79615dfe-ed48-4e74-a40f-4f7b034c1c27" providerId="ADAL" clId="{6CBE310B-8AD8-4E27-BE2B-82789F9F801F}" dt="2021-02-25T08:16:31.832" v="116" actId="2696"/>
        <pc:sldMkLst>
          <pc:docMk/>
          <pc:sldMk cId="1241728994" sldId="331"/>
        </pc:sldMkLst>
      </pc:sldChg>
      <pc:sldChg chg="addSp delSp modSp add ord">
        <pc:chgData name="Meyer Raphael (PAR-ES)" userId="79615dfe-ed48-4e74-a40f-4f7b034c1c27" providerId="ADAL" clId="{6CBE310B-8AD8-4E27-BE2B-82789F9F801F}" dt="2021-02-25T08:16:16.378" v="115"/>
        <pc:sldMkLst>
          <pc:docMk/>
          <pc:sldMk cId="423704220" sldId="332"/>
        </pc:sldMkLst>
        <pc:spChg chg="mod">
          <ac:chgData name="Meyer Raphael (PAR-ES)" userId="79615dfe-ed48-4e74-a40f-4f7b034c1c27" providerId="ADAL" clId="{6CBE310B-8AD8-4E27-BE2B-82789F9F801F}" dt="2021-02-25T08:15:33.131" v="111"/>
          <ac:spMkLst>
            <pc:docMk/>
            <pc:sldMk cId="423704220" sldId="332"/>
            <ac:spMk id="2" creationId="{A2DC317F-F1F4-4624-8FC1-3B68C1DBB3DA}"/>
          </ac:spMkLst>
        </pc:spChg>
        <pc:spChg chg="del">
          <ac:chgData name="Meyer Raphael (PAR-ES)" userId="79615dfe-ed48-4e74-a40f-4f7b034c1c27" providerId="ADAL" clId="{6CBE310B-8AD8-4E27-BE2B-82789F9F801F}" dt="2021-02-25T08:15:06.171" v="107" actId="478"/>
          <ac:spMkLst>
            <pc:docMk/>
            <pc:sldMk cId="423704220" sldId="332"/>
            <ac:spMk id="7" creationId="{BA3F9A72-0541-4D1F-8CD8-1C2B8074FA1B}"/>
          </ac:spMkLst>
        </pc:spChg>
        <pc:spChg chg="del">
          <ac:chgData name="Meyer Raphael (PAR-ES)" userId="79615dfe-ed48-4e74-a40f-4f7b034c1c27" providerId="ADAL" clId="{6CBE310B-8AD8-4E27-BE2B-82789F9F801F}" dt="2021-02-25T08:15:06.171" v="107" actId="478"/>
          <ac:spMkLst>
            <pc:docMk/>
            <pc:sldMk cId="423704220" sldId="332"/>
            <ac:spMk id="8" creationId="{5857C2A1-2CB8-4D4A-AEFD-E809BF73D04F}"/>
          </ac:spMkLst>
        </pc:spChg>
        <pc:spChg chg="del">
          <ac:chgData name="Meyer Raphael (PAR-ES)" userId="79615dfe-ed48-4e74-a40f-4f7b034c1c27" providerId="ADAL" clId="{6CBE310B-8AD8-4E27-BE2B-82789F9F801F}" dt="2021-02-25T08:15:06.171" v="107" actId="478"/>
          <ac:spMkLst>
            <pc:docMk/>
            <pc:sldMk cId="423704220" sldId="332"/>
            <ac:spMk id="9" creationId="{B6990B61-32B2-4ADC-BF01-EDF7B4080F97}"/>
          </ac:spMkLst>
        </pc:spChg>
        <pc:spChg chg="mod">
          <ac:chgData name="Meyer Raphael (PAR-ES)" userId="79615dfe-ed48-4e74-a40f-4f7b034c1c27" providerId="ADAL" clId="{6CBE310B-8AD8-4E27-BE2B-82789F9F801F}" dt="2021-02-25T08:15:42.148" v="112"/>
          <ac:spMkLst>
            <pc:docMk/>
            <pc:sldMk cId="423704220" sldId="332"/>
            <ac:spMk id="10" creationId="{077DFD58-E5EE-4B68-9325-D935DB04DD40}"/>
          </ac:spMkLst>
        </pc:spChg>
        <pc:spChg chg="del">
          <ac:chgData name="Meyer Raphael (PAR-ES)" userId="79615dfe-ed48-4e74-a40f-4f7b034c1c27" providerId="ADAL" clId="{6CBE310B-8AD8-4E27-BE2B-82789F9F801F}" dt="2021-02-25T08:15:06.171" v="107" actId="478"/>
          <ac:spMkLst>
            <pc:docMk/>
            <pc:sldMk cId="423704220" sldId="332"/>
            <ac:spMk id="17" creationId="{785E740C-F94A-4208-8DFD-63A603C16577}"/>
          </ac:spMkLst>
        </pc:spChg>
        <pc:spChg chg="add mod">
          <ac:chgData name="Meyer Raphael (PAR-ES)" userId="79615dfe-ed48-4e74-a40f-4f7b034c1c27" providerId="ADAL" clId="{6CBE310B-8AD8-4E27-BE2B-82789F9F801F}" dt="2021-02-25T08:15:23.424" v="110" actId="20577"/>
          <ac:spMkLst>
            <pc:docMk/>
            <pc:sldMk cId="423704220" sldId="332"/>
            <ac:spMk id="23" creationId="{FFA12097-F211-48E9-9363-90FAD8AD9709}"/>
          </ac:spMkLst>
        </pc:spChg>
        <pc:spChg chg="del">
          <ac:chgData name="Meyer Raphael (PAR-ES)" userId="79615dfe-ed48-4e74-a40f-4f7b034c1c27" providerId="ADAL" clId="{6CBE310B-8AD8-4E27-BE2B-82789F9F801F}" dt="2021-02-25T08:15:06.171" v="107" actId="478"/>
          <ac:spMkLst>
            <pc:docMk/>
            <pc:sldMk cId="423704220" sldId="332"/>
            <ac:spMk id="26" creationId="{BFD498B5-D73E-4C8A-9FAF-B3547647538C}"/>
          </ac:spMkLst>
        </pc:spChg>
        <pc:spChg chg="mod">
          <ac:chgData name="Meyer Raphael (PAR-ES)" userId="79615dfe-ed48-4e74-a40f-4f7b034c1c27" providerId="ADAL" clId="{6CBE310B-8AD8-4E27-BE2B-82789F9F801F}" dt="2021-02-25T08:16:16.378" v="115"/>
          <ac:spMkLst>
            <pc:docMk/>
            <pc:sldMk cId="423704220" sldId="332"/>
            <ac:spMk id="27" creationId="{46A6B042-39EE-4A58-BBAA-13D52264B660}"/>
          </ac:spMkLst>
        </pc:spChg>
        <pc:spChg chg="add">
          <ac:chgData name="Meyer Raphael (PAR-ES)" userId="79615dfe-ed48-4e74-a40f-4f7b034c1c27" providerId="ADAL" clId="{6CBE310B-8AD8-4E27-BE2B-82789F9F801F}" dt="2021-02-25T08:15:19.713" v="108"/>
          <ac:spMkLst>
            <pc:docMk/>
            <pc:sldMk cId="423704220" sldId="332"/>
            <ac:spMk id="33" creationId="{8A51CEFF-8B52-4B83-B2C6-9CDE976D209A}"/>
          </ac:spMkLst>
        </pc:spChg>
        <pc:spChg chg="add">
          <ac:chgData name="Meyer Raphael (PAR-ES)" userId="79615dfe-ed48-4e74-a40f-4f7b034c1c27" providerId="ADAL" clId="{6CBE310B-8AD8-4E27-BE2B-82789F9F801F}" dt="2021-02-25T08:15:19.713" v="108"/>
          <ac:spMkLst>
            <pc:docMk/>
            <pc:sldMk cId="423704220" sldId="332"/>
            <ac:spMk id="36" creationId="{5F716302-3F0D-4853-98D4-E97820FB68B9}"/>
          </ac:spMkLst>
        </pc:spChg>
        <pc:spChg chg="add">
          <ac:chgData name="Meyer Raphael (PAR-ES)" userId="79615dfe-ed48-4e74-a40f-4f7b034c1c27" providerId="ADAL" clId="{6CBE310B-8AD8-4E27-BE2B-82789F9F801F}" dt="2021-02-25T08:15:19.713" v="108"/>
          <ac:spMkLst>
            <pc:docMk/>
            <pc:sldMk cId="423704220" sldId="332"/>
            <ac:spMk id="37" creationId="{206BFD9F-6DF9-4B3F-8A30-8B58021DD352}"/>
          </ac:spMkLst>
        </pc:spChg>
        <pc:spChg chg="add">
          <ac:chgData name="Meyer Raphael (PAR-ES)" userId="79615dfe-ed48-4e74-a40f-4f7b034c1c27" providerId="ADAL" clId="{6CBE310B-8AD8-4E27-BE2B-82789F9F801F}" dt="2021-02-25T08:15:19.713" v="108"/>
          <ac:spMkLst>
            <pc:docMk/>
            <pc:sldMk cId="423704220" sldId="332"/>
            <ac:spMk id="38" creationId="{32369B41-D077-4D71-8B1D-8E4EE3EDE857}"/>
          </ac:spMkLst>
        </pc:spChg>
      </pc:sldChg>
      <pc:sldChg chg="addSp delSp modSp add ord">
        <pc:chgData name="Meyer Raphael (PAR-ES)" userId="79615dfe-ed48-4e74-a40f-4f7b034c1c27" providerId="ADAL" clId="{6CBE310B-8AD8-4E27-BE2B-82789F9F801F}" dt="2021-02-25T08:18:18.939" v="125"/>
        <pc:sldMkLst>
          <pc:docMk/>
          <pc:sldMk cId="3676330928" sldId="333"/>
        </pc:sldMkLst>
        <pc:spChg chg="mod">
          <ac:chgData name="Meyer Raphael (PAR-ES)" userId="79615dfe-ed48-4e74-a40f-4f7b034c1c27" providerId="ADAL" clId="{6CBE310B-8AD8-4E27-BE2B-82789F9F801F}" dt="2021-02-25T08:18:08.332" v="124"/>
          <ac:spMkLst>
            <pc:docMk/>
            <pc:sldMk cId="3676330928" sldId="333"/>
            <ac:spMk id="2" creationId="{A2DC317F-F1F4-4624-8FC1-3B68C1DBB3DA}"/>
          </ac:spMkLst>
        </pc:spChg>
        <pc:spChg chg="del">
          <ac:chgData name="Meyer Raphael (PAR-ES)" userId="79615dfe-ed48-4e74-a40f-4f7b034c1c27" providerId="ADAL" clId="{6CBE310B-8AD8-4E27-BE2B-82789F9F801F}" dt="2021-02-25T08:17:12.990" v="117" actId="478"/>
          <ac:spMkLst>
            <pc:docMk/>
            <pc:sldMk cId="3676330928" sldId="333"/>
            <ac:spMk id="7" creationId="{BA3F9A72-0541-4D1F-8CD8-1C2B8074FA1B}"/>
          </ac:spMkLst>
        </pc:spChg>
        <pc:spChg chg="del">
          <ac:chgData name="Meyer Raphael (PAR-ES)" userId="79615dfe-ed48-4e74-a40f-4f7b034c1c27" providerId="ADAL" clId="{6CBE310B-8AD8-4E27-BE2B-82789F9F801F}" dt="2021-02-25T08:17:12.990" v="117" actId="478"/>
          <ac:spMkLst>
            <pc:docMk/>
            <pc:sldMk cId="3676330928" sldId="333"/>
            <ac:spMk id="8" creationId="{5857C2A1-2CB8-4D4A-AEFD-E809BF73D04F}"/>
          </ac:spMkLst>
        </pc:spChg>
        <pc:spChg chg="del">
          <ac:chgData name="Meyer Raphael (PAR-ES)" userId="79615dfe-ed48-4e74-a40f-4f7b034c1c27" providerId="ADAL" clId="{6CBE310B-8AD8-4E27-BE2B-82789F9F801F}" dt="2021-02-25T08:17:12.990" v="117" actId="478"/>
          <ac:spMkLst>
            <pc:docMk/>
            <pc:sldMk cId="3676330928" sldId="333"/>
            <ac:spMk id="9" creationId="{B6990B61-32B2-4ADC-BF01-EDF7B4080F97}"/>
          </ac:spMkLst>
        </pc:spChg>
        <pc:spChg chg="mod">
          <ac:chgData name="Meyer Raphael (PAR-ES)" userId="79615dfe-ed48-4e74-a40f-4f7b034c1c27" providerId="ADAL" clId="{6CBE310B-8AD8-4E27-BE2B-82789F9F801F}" dt="2021-02-25T08:18:18.939" v="125"/>
          <ac:spMkLst>
            <pc:docMk/>
            <pc:sldMk cId="3676330928" sldId="333"/>
            <ac:spMk id="10" creationId="{077DFD58-E5EE-4B68-9325-D935DB04DD40}"/>
          </ac:spMkLst>
        </pc:spChg>
        <pc:spChg chg="del">
          <ac:chgData name="Meyer Raphael (PAR-ES)" userId="79615dfe-ed48-4e74-a40f-4f7b034c1c27" providerId="ADAL" clId="{6CBE310B-8AD8-4E27-BE2B-82789F9F801F}" dt="2021-02-25T08:17:12.990" v="117" actId="478"/>
          <ac:spMkLst>
            <pc:docMk/>
            <pc:sldMk cId="3676330928" sldId="333"/>
            <ac:spMk id="17" creationId="{785E740C-F94A-4208-8DFD-63A603C16577}"/>
          </ac:spMkLst>
        </pc:spChg>
        <pc:spChg chg="add mod">
          <ac:chgData name="Meyer Raphael (PAR-ES)" userId="79615dfe-ed48-4e74-a40f-4f7b034c1c27" providerId="ADAL" clId="{6CBE310B-8AD8-4E27-BE2B-82789F9F801F}" dt="2021-02-25T08:18:00.093" v="123" actId="20577"/>
          <ac:spMkLst>
            <pc:docMk/>
            <pc:sldMk cId="3676330928" sldId="333"/>
            <ac:spMk id="23" creationId="{EFB56E8A-C103-4BC3-B51E-38A988DAF639}"/>
          </ac:spMkLst>
        </pc:spChg>
        <pc:spChg chg="del">
          <ac:chgData name="Meyer Raphael (PAR-ES)" userId="79615dfe-ed48-4e74-a40f-4f7b034c1c27" providerId="ADAL" clId="{6CBE310B-8AD8-4E27-BE2B-82789F9F801F}" dt="2021-02-25T08:17:12.990" v="117" actId="478"/>
          <ac:spMkLst>
            <pc:docMk/>
            <pc:sldMk cId="3676330928" sldId="333"/>
            <ac:spMk id="26" creationId="{BFD498B5-D73E-4C8A-9FAF-B3547647538C}"/>
          </ac:spMkLst>
        </pc:spChg>
        <pc:spChg chg="mod">
          <ac:chgData name="Meyer Raphael (PAR-ES)" userId="79615dfe-ed48-4e74-a40f-4f7b034c1c27" providerId="ADAL" clId="{6CBE310B-8AD8-4E27-BE2B-82789F9F801F}" dt="2021-02-25T08:17:48.568" v="121" actId="14100"/>
          <ac:spMkLst>
            <pc:docMk/>
            <pc:sldMk cId="3676330928" sldId="333"/>
            <ac:spMk id="27" creationId="{46A6B042-39EE-4A58-BBAA-13D52264B660}"/>
          </ac:spMkLst>
        </pc:spChg>
        <pc:spChg chg="add">
          <ac:chgData name="Meyer Raphael (PAR-ES)" userId="79615dfe-ed48-4e74-a40f-4f7b034c1c27" providerId="ADAL" clId="{6CBE310B-8AD8-4E27-BE2B-82789F9F801F}" dt="2021-02-25T08:17:26.339" v="118"/>
          <ac:spMkLst>
            <pc:docMk/>
            <pc:sldMk cId="3676330928" sldId="333"/>
            <ac:spMk id="33" creationId="{BC605298-9673-4C17-8F44-23AE012CD8E2}"/>
          </ac:spMkLst>
        </pc:spChg>
        <pc:spChg chg="add">
          <ac:chgData name="Meyer Raphael (PAR-ES)" userId="79615dfe-ed48-4e74-a40f-4f7b034c1c27" providerId="ADAL" clId="{6CBE310B-8AD8-4E27-BE2B-82789F9F801F}" dt="2021-02-25T08:17:26.339" v="118"/>
          <ac:spMkLst>
            <pc:docMk/>
            <pc:sldMk cId="3676330928" sldId="333"/>
            <ac:spMk id="36" creationId="{54F10397-7FCA-4852-BFE6-00CEA9B477F9}"/>
          </ac:spMkLst>
        </pc:spChg>
        <pc:spChg chg="add">
          <ac:chgData name="Meyer Raphael (PAR-ES)" userId="79615dfe-ed48-4e74-a40f-4f7b034c1c27" providerId="ADAL" clId="{6CBE310B-8AD8-4E27-BE2B-82789F9F801F}" dt="2021-02-25T08:17:26.339" v="118"/>
          <ac:spMkLst>
            <pc:docMk/>
            <pc:sldMk cId="3676330928" sldId="333"/>
            <ac:spMk id="37" creationId="{3E7B73DC-69F6-4099-B97E-E95065CA3C5E}"/>
          </ac:spMkLst>
        </pc:spChg>
        <pc:spChg chg="add">
          <ac:chgData name="Meyer Raphael (PAR-ES)" userId="79615dfe-ed48-4e74-a40f-4f7b034c1c27" providerId="ADAL" clId="{6CBE310B-8AD8-4E27-BE2B-82789F9F801F}" dt="2021-02-25T08:17:26.339" v="118"/>
          <ac:spMkLst>
            <pc:docMk/>
            <pc:sldMk cId="3676330928" sldId="333"/>
            <ac:spMk id="38" creationId="{D91A3230-CB82-493C-822B-2A547E2C54D7}"/>
          </ac:spMkLst>
        </pc:spChg>
      </pc:sldChg>
    </pc:docChg>
  </pc:docChgLst>
  <pc:docChgLst>
    <pc:chgData name="Meyer Raphael (PAR-ES)" userId="79615dfe-ed48-4e74-a40f-4f7b034c1c27" providerId="ADAL" clId="{6DEBFCCA-05D0-4F82-BE10-06920730471D}"/>
    <pc:docChg chg="custSel addSld delSld modSld sldOrd">
      <pc:chgData name="Meyer Raphael (PAR-ES)" userId="79615dfe-ed48-4e74-a40f-4f7b034c1c27" providerId="ADAL" clId="{6DEBFCCA-05D0-4F82-BE10-06920730471D}" dt="2021-04-15T07:37:46.057" v="86" actId="47"/>
      <pc:docMkLst>
        <pc:docMk/>
      </pc:docMkLst>
      <pc:sldChg chg="modSp mod">
        <pc:chgData name="Meyer Raphael (PAR-ES)" userId="79615dfe-ed48-4e74-a40f-4f7b034c1c27" providerId="ADAL" clId="{6DEBFCCA-05D0-4F82-BE10-06920730471D}" dt="2021-04-15T07:32:45.364" v="59" actId="20577"/>
        <pc:sldMkLst>
          <pc:docMk/>
          <pc:sldMk cId="1667945532" sldId="306"/>
        </pc:sldMkLst>
        <pc:spChg chg="mod">
          <ac:chgData name="Meyer Raphael (PAR-ES)" userId="79615dfe-ed48-4e74-a40f-4f7b034c1c27" providerId="ADAL" clId="{6DEBFCCA-05D0-4F82-BE10-06920730471D}" dt="2021-04-15T07:27:57.561" v="3" actId="20577"/>
          <ac:spMkLst>
            <pc:docMk/>
            <pc:sldMk cId="1667945532" sldId="306"/>
            <ac:spMk id="8" creationId="{5857C2A1-2CB8-4D4A-AEFD-E809BF73D04F}"/>
          </ac:spMkLst>
        </pc:spChg>
        <pc:spChg chg="mod">
          <ac:chgData name="Meyer Raphael (PAR-ES)" userId="79615dfe-ed48-4e74-a40f-4f7b034c1c27" providerId="ADAL" clId="{6DEBFCCA-05D0-4F82-BE10-06920730471D}" dt="2021-04-15T07:32:29.106" v="51" actId="20577"/>
          <ac:spMkLst>
            <pc:docMk/>
            <pc:sldMk cId="1667945532" sldId="306"/>
            <ac:spMk id="27" creationId="{46A6B042-39EE-4A58-BBAA-13D52264B660}"/>
          </ac:spMkLst>
        </pc:spChg>
        <pc:spChg chg="mod">
          <ac:chgData name="Meyer Raphael (PAR-ES)" userId="79615dfe-ed48-4e74-a40f-4f7b034c1c27" providerId="ADAL" clId="{6DEBFCCA-05D0-4F82-BE10-06920730471D}" dt="2021-04-15T07:32:00.350" v="45" actId="1076"/>
          <ac:spMkLst>
            <pc:docMk/>
            <pc:sldMk cId="1667945532" sldId="306"/>
            <ac:spMk id="28" creationId="{4492A3CD-6943-423D-BFEC-8129889E8B6F}"/>
          </ac:spMkLst>
        </pc:spChg>
        <pc:spChg chg="mod">
          <ac:chgData name="Meyer Raphael (PAR-ES)" userId="79615dfe-ed48-4e74-a40f-4f7b034c1c27" providerId="ADAL" clId="{6DEBFCCA-05D0-4F82-BE10-06920730471D}" dt="2021-04-15T07:32:45.364" v="59" actId="20577"/>
          <ac:spMkLst>
            <pc:docMk/>
            <pc:sldMk cId="1667945532" sldId="306"/>
            <ac:spMk id="31" creationId="{7491A47D-CAD4-478D-8F3A-296FFCB799F9}"/>
          </ac:spMkLst>
        </pc:spChg>
        <pc:spChg chg="mod">
          <ac:chgData name="Meyer Raphael (PAR-ES)" userId="79615dfe-ed48-4e74-a40f-4f7b034c1c27" providerId="ADAL" clId="{6DEBFCCA-05D0-4F82-BE10-06920730471D}" dt="2021-04-15T07:32:06.981" v="47" actId="1076"/>
          <ac:spMkLst>
            <pc:docMk/>
            <pc:sldMk cId="1667945532" sldId="306"/>
            <ac:spMk id="32" creationId="{E65DDA4F-7190-4D5B-B875-6818D18C9F6E}"/>
          </ac:spMkLst>
        </pc:spChg>
      </pc:sldChg>
      <pc:sldChg chg="del">
        <pc:chgData name="Meyer Raphael (PAR-ES)" userId="79615dfe-ed48-4e74-a40f-4f7b034c1c27" providerId="ADAL" clId="{6DEBFCCA-05D0-4F82-BE10-06920730471D}" dt="2021-04-15T07:34:47.950" v="73" actId="47"/>
        <pc:sldMkLst>
          <pc:docMk/>
          <pc:sldMk cId="2164349284" sldId="344"/>
        </pc:sldMkLst>
      </pc:sldChg>
      <pc:sldChg chg="modSp del">
        <pc:chgData name="Meyer Raphael (PAR-ES)" userId="79615dfe-ed48-4e74-a40f-4f7b034c1c27" providerId="ADAL" clId="{6DEBFCCA-05D0-4F82-BE10-06920730471D}" dt="2021-04-15T07:37:46.057" v="86" actId="47"/>
        <pc:sldMkLst>
          <pc:docMk/>
          <pc:sldMk cId="2994949244" sldId="345"/>
        </pc:sldMkLst>
        <pc:spChg chg="mod">
          <ac:chgData name="Meyer Raphael (PAR-ES)" userId="79615dfe-ed48-4e74-a40f-4f7b034c1c27" providerId="ADAL" clId="{6DEBFCCA-05D0-4F82-BE10-06920730471D}" dt="2021-04-15T07:36:24.816" v="80"/>
          <ac:spMkLst>
            <pc:docMk/>
            <pc:sldMk cId="2994949244" sldId="345"/>
            <ac:spMk id="10" creationId="{077DFD58-E5EE-4B68-9325-D935DB04DD40}"/>
          </ac:spMkLst>
        </pc:spChg>
      </pc:sldChg>
      <pc:sldChg chg="del mod">
        <pc:chgData name="Meyer Raphael (PAR-ES)" userId="79615dfe-ed48-4e74-a40f-4f7b034c1c27" providerId="ADAL" clId="{6DEBFCCA-05D0-4F82-BE10-06920730471D}" dt="2021-04-15T07:28:11.029" v="6" actId="47"/>
        <pc:sldMkLst>
          <pc:docMk/>
          <pc:sldMk cId="586406932" sldId="346"/>
        </pc:sldMkLst>
      </pc:sldChg>
      <pc:sldChg chg="addSp delSp modSp add mod ord">
        <pc:chgData name="Meyer Raphael (PAR-ES)" userId="79615dfe-ed48-4e74-a40f-4f7b034c1c27" providerId="ADAL" clId="{6DEBFCCA-05D0-4F82-BE10-06920730471D}" dt="2021-04-15T07:34:21.687" v="72"/>
        <pc:sldMkLst>
          <pc:docMk/>
          <pc:sldMk cId="3784104885" sldId="346"/>
        </pc:sldMkLst>
        <pc:spChg chg="mod">
          <ac:chgData name="Meyer Raphael (PAR-ES)" userId="79615dfe-ed48-4e74-a40f-4f7b034c1c27" providerId="ADAL" clId="{6DEBFCCA-05D0-4F82-BE10-06920730471D}" dt="2021-04-15T07:33:45.670" v="68"/>
          <ac:spMkLst>
            <pc:docMk/>
            <pc:sldMk cId="3784104885" sldId="346"/>
            <ac:spMk id="2" creationId="{A2DC317F-F1F4-4624-8FC1-3B68C1DBB3DA}"/>
          </ac:spMkLst>
        </pc:spChg>
        <pc:spChg chg="del">
          <ac:chgData name="Meyer Raphael (PAR-ES)" userId="79615dfe-ed48-4e74-a40f-4f7b034c1c27" providerId="ADAL" clId="{6DEBFCCA-05D0-4F82-BE10-06920730471D}" dt="2021-04-15T07:33:19.504" v="66" actId="478"/>
          <ac:spMkLst>
            <pc:docMk/>
            <pc:sldMk cId="3784104885" sldId="346"/>
            <ac:spMk id="7" creationId="{BA3F9A72-0541-4D1F-8CD8-1C2B8074FA1B}"/>
          </ac:spMkLst>
        </pc:spChg>
        <pc:spChg chg="mod">
          <ac:chgData name="Meyer Raphael (PAR-ES)" userId="79615dfe-ed48-4e74-a40f-4f7b034c1c27" providerId="ADAL" clId="{6DEBFCCA-05D0-4F82-BE10-06920730471D}" dt="2021-04-15T07:34:12.033" v="71" actId="14100"/>
          <ac:spMkLst>
            <pc:docMk/>
            <pc:sldMk cId="3784104885" sldId="346"/>
            <ac:spMk id="8" creationId="{5857C2A1-2CB8-4D4A-AEFD-E809BF73D04F}"/>
          </ac:spMkLst>
        </pc:spChg>
        <pc:spChg chg="del">
          <ac:chgData name="Meyer Raphael (PAR-ES)" userId="79615dfe-ed48-4e74-a40f-4f7b034c1c27" providerId="ADAL" clId="{6DEBFCCA-05D0-4F82-BE10-06920730471D}" dt="2021-04-15T07:33:19.504" v="66" actId="478"/>
          <ac:spMkLst>
            <pc:docMk/>
            <pc:sldMk cId="3784104885" sldId="346"/>
            <ac:spMk id="9" creationId="{B6990B61-32B2-4ADC-BF01-EDF7B4080F97}"/>
          </ac:spMkLst>
        </pc:spChg>
        <pc:spChg chg="mod">
          <ac:chgData name="Meyer Raphael (PAR-ES)" userId="79615dfe-ed48-4e74-a40f-4f7b034c1c27" providerId="ADAL" clId="{6DEBFCCA-05D0-4F82-BE10-06920730471D}" dt="2021-04-15T07:33:55.542" v="69"/>
          <ac:spMkLst>
            <pc:docMk/>
            <pc:sldMk cId="3784104885" sldId="346"/>
            <ac:spMk id="10" creationId="{077DFD58-E5EE-4B68-9325-D935DB04DD40}"/>
          </ac:spMkLst>
        </pc:spChg>
        <pc:spChg chg="del">
          <ac:chgData name="Meyer Raphael (PAR-ES)" userId="79615dfe-ed48-4e74-a40f-4f7b034c1c27" providerId="ADAL" clId="{6DEBFCCA-05D0-4F82-BE10-06920730471D}" dt="2021-04-15T07:33:19.504" v="66" actId="478"/>
          <ac:spMkLst>
            <pc:docMk/>
            <pc:sldMk cId="3784104885" sldId="346"/>
            <ac:spMk id="17" creationId="{785E740C-F94A-4208-8DFD-63A603C16577}"/>
          </ac:spMkLst>
        </pc:spChg>
        <pc:spChg chg="add mod">
          <ac:chgData name="Meyer Raphael (PAR-ES)" userId="79615dfe-ed48-4e74-a40f-4f7b034c1c27" providerId="ADAL" clId="{6DEBFCCA-05D0-4F82-BE10-06920730471D}" dt="2021-04-15T07:33:36.815" v="67"/>
          <ac:spMkLst>
            <pc:docMk/>
            <pc:sldMk cId="3784104885" sldId="346"/>
            <ac:spMk id="21" creationId="{B3348783-C2A3-4CDA-A666-6E1A00E63A0B}"/>
          </ac:spMkLst>
        </pc:spChg>
        <pc:spChg chg="add mod">
          <ac:chgData name="Meyer Raphael (PAR-ES)" userId="79615dfe-ed48-4e74-a40f-4f7b034c1c27" providerId="ADAL" clId="{6DEBFCCA-05D0-4F82-BE10-06920730471D}" dt="2021-04-15T07:33:36.815" v="67"/>
          <ac:spMkLst>
            <pc:docMk/>
            <pc:sldMk cId="3784104885" sldId="346"/>
            <ac:spMk id="22" creationId="{23343D9A-9EA2-4CF4-AF00-C15C92DD69D5}"/>
          </ac:spMkLst>
        </pc:spChg>
        <pc:spChg chg="add mod">
          <ac:chgData name="Meyer Raphael (PAR-ES)" userId="79615dfe-ed48-4e74-a40f-4f7b034c1c27" providerId="ADAL" clId="{6DEBFCCA-05D0-4F82-BE10-06920730471D}" dt="2021-04-15T07:33:36.815" v="67"/>
          <ac:spMkLst>
            <pc:docMk/>
            <pc:sldMk cId="3784104885" sldId="346"/>
            <ac:spMk id="23" creationId="{36EF9DB8-EC1B-44EA-B107-5E0BEDAD9FA1}"/>
          </ac:spMkLst>
        </pc:spChg>
        <pc:spChg chg="add mod">
          <ac:chgData name="Meyer Raphael (PAR-ES)" userId="79615dfe-ed48-4e74-a40f-4f7b034c1c27" providerId="ADAL" clId="{6DEBFCCA-05D0-4F82-BE10-06920730471D}" dt="2021-04-15T07:33:36.815" v="67"/>
          <ac:spMkLst>
            <pc:docMk/>
            <pc:sldMk cId="3784104885" sldId="346"/>
            <ac:spMk id="25" creationId="{CD872F77-2E1A-4EA7-B6C2-6C90748B8F46}"/>
          </ac:spMkLst>
        </pc:spChg>
        <pc:spChg chg="del">
          <ac:chgData name="Meyer Raphael (PAR-ES)" userId="79615dfe-ed48-4e74-a40f-4f7b034c1c27" providerId="ADAL" clId="{6DEBFCCA-05D0-4F82-BE10-06920730471D}" dt="2021-04-15T07:33:19.504" v="66" actId="478"/>
          <ac:spMkLst>
            <pc:docMk/>
            <pc:sldMk cId="3784104885" sldId="346"/>
            <ac:spMk id="26" creationId="{BFD498B5-D73E-4C8A-9FAF-B3547647538C}"/>
          </ac:spMkLst>
        </pc:spChg>
        <pc:spChg chg="mod">
          <ac:chgData name="Meyer Raphael (PAR-ES)" userId="79615dfe-ed48-4e74-a40f-4f7b034c1c27" providerId="ADAL" clId="{6DEBFCCA-05D0-4F82-BE10-06920730471D}" dt="2021-04-15T07:34:21.687" v="72"/>
          <ac:spMkLst>
            <pc:docMk/>
            <pc:sldMk cId="3784104885" sldId="346"/>
            <ac:spMk id="27" creationId="{46A6B042-39EE-4A58-BBAA-13D52264B660}"/>
          </ac:spMkLst>
        </pc:spChg>
      </pc:sldChg>
      <pc:sldChg chg="addSp delSp modSp add mod ord">
        <pc:chgData name="Meyer Raphael (PAR-ES)" userId="79615dfe-ed48-4e74-a40f-4f7b034c1c27" providerId="ADAL" clId="{6DEBFCCA-05D0-4F82-BE10-06920730471D}" dt="2021-04-15T07:37:15.896" v="85" actId="14100"/>
        <pc:sldMkLst>
          <pc:docMk/>
          <pc:sldMk cId="502819407" sldId="347"/>
        </pc:sldMkLst>
        <pc:spChg chg="mod">
          <ac:chgData name="Meyer Raphael (PAR-ES)" userId="79615dfe-ed48-4e74-a40f-4f7b034c1c27" providerId="ADAL" clId="{6DEBFCCA-05D0-4F82-BE10-06920730471D}" dt="2021-04-15T07:35:30.837" v="77"/>
          <ac:spMkLst>
            <pc:docMk/>
            <pc:sldMk cId="502819407" sldId="347"/>
            <ac:spMk id="2" creationId="{A2DC317F-F1F4-4624-8FC1-3B68C1DBB3DA}"/>
          </ac:spMkLst>
        </pc:spChg>
        <pc:spChg chg="del mod">
          <ac:chgData name="Meyer Raphael (PAR-ES)" userId="79615dfe-ed48-4e74-a40f-4f7b034c1c27" providerId="ADAL" clId="{6DEBFCCA-05D0-4F82-BE10-06920730471D}" dt="2021-04-15T07:35:00.196" v="75" actId="478"/>
          <ac:spMkLst>
            <pc:docMk/>
            <pc:sldMk cId="502819407" sldId="347"/>
            <ac:spMk id="7" creationId="{BA3F9A72-0541-4D1F-8CD8-1C2B8074FA1B}"/>
          </ac:spMkLst>
        </pc:spChg>
        <pc:spChg chg="mod">
          <ac:chgData name="Meyer Raphael (PAR-ES)" userId="79615dfe-ed48-4e74-a40f-4f7b034c1c27" providerId="ADAL" clId="{6DEBFCCA-05D0-4F82-BE10-06920730471D}" dt="2021-04-15T07:36:58.883" v="83" actId="14100"/>
          <ac:spMkLst>
            <pc:docMk/>
            <pc:sldMk cId="502819407" sldId="347"/>
            <ac:spMk id="8" creationId="{5857C2A1-2CB8-4D4A-AEFD-E809BF73D04F}"/>
          </ac:spMkLst>
        </pc:spChg>
        <pc:spChg chg="del">
          <ac:chgData name="Meyer Raphael (PAR-ES)" userId="79615dfe-ed48-4e74-a40f-4f7b034c1c27" providerId="ADAL" clId="{6DEBFCCA-05D0-4F82-BE10-06920730471D}" dt="2021-04-15T07:35:00.196" v="75" actId="478"/>
          <ac:spMkLst>
            <pc:docMk/>
            <pc:sldMk cId="502819407" sldId="347"/>
            <ac:spMk id="9" creationId="{B6990B61-32B2-4ADC-BF01-EDF7B4080F97}"/>
          </ac:spMkLst>
        </pc:spChg>
        <pc:spChg chg="mod">
          <ac:chgData name="Meyer Raphael (PAR-ES)" userId="79615dfe-ed48-4e74-a40f-4f7b034c1c27" providerId="ADAL" clId="{6DEBFCCA-05D0-4F82-BE10-06920730471D}" dt="2021-04-15T07:36:32.510" v="81"/>
          <ac:spMkLst>
            <pc:docMk/>
            <pc:sldMk cId="502819407" sldId="347"/>
            <ac:spMk id="10" creationId="{077DFD58-E5EE-4B68-9325-D935DB04DD40}"/>
          </ac:spMkLst>
        </pc:spChg>
        <pc:spChg chg="del">
          <ac:chgData name="Meyer Raphael (PAR-ES)" userId="79615dfe-ed48-4e74-a40f-4f7b034c1c27" providerId="ADAL" clId="{6DEBFCCA-05D0-4F82-BE10-06920730471D}" dt="2021-04-15T07:35:00.196" v="75" actId="478"/>
          <ac:spMkLst>
            <pc:docMk/>
            <pc:sldMk cId="502819407" sldId="347"/>
            <ac:spMk id="17" creationId="{785E740C-F94A-4208-8DFD-63A603C16577}"/>
          </ac:spMkLst>
        </pc:spChg>
        <pc:spChg chg="add mod">
          <ac:chgData name="Meyer Raphael (PAR-ES)" userId="79615dfe-ed48-4e74-a40f-4f7b034c1c27" providerId="ADAL" clId="{6DEBFCCA-05D0-4F82-BE10-06920730471D}" dt="2021-04-15T07:35:20.299" v="76"/>
          <ac:spMkLst>
            <pc:docMk/>
            <pc:sldMk cId="502819407" sldId="347"/>
            <ac:spMk id="21" creationId="{82E3811D-C7D4-49B1-8DD1-508B7BA22274}"/>
          </ac:spMkLst>
        </pc:spChg>
        <pc:spChg chg="add mod">
          <ac:chgData name="Meyer Raphael (PAR-ES)" userId="79615dfe-ed48-4e74-a40f-4f7b034c1c27" providerId="ADAL" clId="{6DEBFCCA-05D0-4F82-BE10-06920730471D}" dt="2021-04-15T07:35:20.299" v="76"/>
          <ac:spMkLst>
            <pc:docMk/>
            <pc:sldMk cId="502819407" sldId="347"/>
            <ac:spMk id="22" creationId="{8388360A-31D4-4BF2-A7AC-4BF71303E34C}"/>
          </ac:spMkLst>
        </pc:spChg>
        <pc:spChg chg="add mod">
          <ac:chgData name="Meyer Raphael (PAR-ES)" userId="79615dfe-ed48-4e74-a40f-4f7b034c1c27" providerId="ADAL" clId="{6DEBFCCA-05D0-4F82-BE10-06920730471D}" dt="2021-04-15T07:35:20.299" v="76"/>
          <ac:spMkLst>
            <pc:docMk/>
            <pc:sldMk cId="502819407" sldId="347"/>
            <ac:spMk id="23" creationId="{029F0FE2-A4C6-4D1B-96E5-87866EDC62C6}"/>
          </ac:spMkLst>
        </pc:spChg>
        <pc:spChg chg="add mod">
          <ac:chgData name="Meyer Raphael (PAR-ES)" userId="79615dfe-ed48-4e74-a40f-4f7b034c1c27" providerId="ADAL" clId="{6DEBFCCA-05D0-4F82-BE10-06920730471D}" dt="2021-04-15T07:35:20.299" v="76"/>
          <ac:spMkLst>
            <pc:docMk/>
            <pc:sldMk cId="502819407" sldId="347"/>
            <ac:spMk id="25" creationId="{CA73F05F-C635-4A84-9267-D4BE4D0AE82C}"/>
          </ac:spMkLst>
        </pc:spChg>
        <pc:spChg chg="del">
          <ac:chgData name="Meyer Raphael (PAR-ES)" userId="79615dfe-ed48-4e74-a40f-4f7b034c1c27" providerId="ADAL" clId="{6DEBFCCA-05D0-4F82-BE10-06920730471D}" dt="2021-04-15T07:35:00.196" v="75" actId="478"/>
          <ac:spMkLst>
            <pc:docMk/>
            <pc:sldMk cId="502819407" sldId="347"/>
            <ac:spMk id="26" creationId="{BFD498B5-D73E-4C8A-9FAF-B3547647538C}"/>
          </ac:spMkLst>
        </pc:spChg>
        <pc:spChg chg="mod">
          <ac:chgData name="Meyer Raphael (PAR-ES)" userId="79615dfe-ed48-4e74-a40f-4f7b034c1c27" providerId="ADAL" clId="{6DEBFCCA-05D0-4F82-BE10-06920730471D}" dt="2021-04-15T07:37:15.896" v="85" actId="14100"/>
          <ac:spMkLst>
            <pc:docMk/>
            <pc:sldMk cId="502819407" sldId="347"/>
            <ac:spMk id="27" creationId="{46A6B042-39EE-4A58-BBAA-13D52264B660}"/>
          </ac:spMkLst>
        </pc:spChg>
      </pc:sldChg>
      <pc:sldChg chg="del">
        <pc:chgData name="Meyer Raphael (PAR-ES)" userId="79615dfe-ed48-4e74-a40f-4f7b034c1c27" providerId="ADAL" clId="{6DEBFCCA-05D0-4F82-BE10-06920730471D}" dt="2021-04-15T07:28:11.029" v="6" actId="47"/>
        <pc:sldMkLst>
          <pc:docMk/>
          <pc:sldMk cId="3321596445" sldId="347"/>
        </pc:sldMkLst>
      </pc:sldChg>
      <pc:sldChg chg="del">
        <pc:chgData name="Meyer Raphael (PAR-ES)" userId="79615dfe-ed48-4e74-a40f-4f7b034c1c27" providerId="ADAL" clId="{6DEBFCCA-05D0-4F82-BE10-06920730471D}" dt="2021-04-15T07:28:11.029" v="6" actId="47"/>
        <pc:sldMkLst>
          <pc:docMk/>
          <pc:sldMk cId="3052738061" sldId="348"/>
        </pc:sldMkLst>
      </pc:sldChg>
    </pc:docChg>
  </pc:docChgLst>
  <pc:docChgLst>
    <pc:chgData name="Meyer Raphael (PAR-ES)" userId="79615dfe-ed48-4e74-a40f-4f7b034c1c27" providerId="ADAL" clId="{406498AA-FC02-4732-8D04-74CC3D33B241}"/>
    <pc:docChg chg="addSld modSld">
      <pc:chgData name="Meyer Raphael (PAR-ES)" userId="79615dfe-ed48-4e74-a40f-4f7b034c1c27" providerId="ADAL" clId="{406498AA-FC02-4732-8D04-74CC3D33B241}" dt="2021-10-14T12:43:36.532" v="60" actId="1037"/>
      <pc:docMkLst>
        <pc:docMk/>
      </pc:docMkLst>
      <pc:sldChg chg="modSp add mod">
        <pc:chgData name="Meyer Raphael (PAR-ES)" userId="79615dfe-ed48-4e74-a40f-4f7b034c1c27" providerId="ADAL" clId="{406498AA-FC02-4732-8D04-74CC3D33B241}" dt="2021-10-14T12:40:11.412" v="27" actId="1038"/>
        <pc:sldMkLst>
          <pc:docMk/>
          <pc:sldMk cId="2343299233" sldId="374"/>
        </pc:sldMkLst>
        <pc:spChg chg="mod">
          <ac:chgData name="Meyer Raphael (PAR-ES)" userId="79615dfe-ed48-4e74-a40f-4f7b034c1c27" providerId="ADAL" clId="{406498AA-FC02-4732-8D04-74CC3D33B241}" dt="2021-10-14T12:40:11.412" v="27" actId="1038"/>
          <ac:spMkLst>
            <pc:docMk/>
            <pc:sldMk cId="2343299233" sldId="374"/>
            <ac:spMk id="12" creationId="{970D2C07-63A2-4265-B006-56F685FE80A5}"/>
          </ac:spMkLst>
        </pc:spChg>
        <pc:spChg chg="mod">
          <ac:chgData name="Meyer Raphael (PAR-ES)" userId="79615dfe-ed48-4e74-a40f-4f7b034c1c27" providerId="ADAL" clId="{406498AA-FC02-4732-8D04-74CC3D33B241}" dt="2021-10-14T12:40:11.412" v="27" actId="1038"/>
          <ac:spMkLst>
            <pc:docMk/>
            <pc:sldMk cId="2343299233" sldId="374"/>
            <ac:spMk id="13" creationId="{93412675-62AA-41D8-997C-4E877ED953A8}"/>
          </ac:spMkLst>
        </pc:spChg>
        <pc:graphicFrameChg chg="modGraphic">
          <ac:chgData name="Meyer Raphael (PAR-ES)" userId="79615dfe-ed48-4e74-a40f-4f7b034c1c27" providerId="ADAL" clId="{406498AA-FC02-4732-8D04-74CC3D33B241}" dt="2021-10-14T12:38:46.066" v="18"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406498AA-FC02-4732-8D04-74CC3D33B241}" dt="2021-10-14T12:40:11.412" v="27" actId="1038"/>
          <ac:cxnSpMkLst>
            <pc:docMk/>
            <pc:sldMk cId="2343299233" sldId="374"/>
            <ac:cxnSpMk id="8" creationId="{6F3EB9D3-E612-42D9-859B-1905BD876C26}"/>
          </ac:cxnSpMkLst>
        </pc:cxnChg>
      </pc:sldChg>
      <pc:sldChg chg="modSp add mod">
        <pc:chgData name="Meyer Raphael (PAR-ES)" userId="79615dfe-ed48-4e74-a40f-4f7b034c1c27" providerId="ADAL" clId="{406498AA-FC02-4732-8D04-74CC3D33B241}" dt="2021-10-14T12:42:27.536" v="50" actId="1037"/>
        <pc:sldMkLst>
          <pc:docMk/>
          <pc:sldMk cId="3759573184" sldId="375"/>
        </pc:sldMkLst>
        <pc:spChg chg="mod">
          <ac:chgData name="Meyer Raphael (PAR-ES)" userId="79615dfe-ed48-4e74-a40f-4f7b034c1c27" providerId="ADAL" clId="{406498AA-FC02-4732-8D04-74CC3D33B241}" dt="2021-10-14T12:42:27.536" v="50" actId="1037"/>
          <ac:spMkLst>
            <pc:docMk/>
            <pc:sldMk cId="3759573184" sldId="375"/>
            <ac:spMk id="12" creationId="{970D2C07-63A2-4265-B006-56F685FE80A5}"/>
          </ac:spMkLst>
        </pc:spChg>
        <pc:spChg chg="mod">
          <ac:chgData name="Meyer Raphael (PAR-ES)" userId="79615dfe-ed48-4e74-a40f-4f7b034c1c27" providerId="ADAL" clId="{406498AA-FC02-4732-8D04-74CC3D33B241}" dt="2021-10-14T12:42:27.536" v="50" actId="1037"/>
          <ac:spMkLst>
            <pc:docMk/>
            <pc:sldMk cId="3759573184" sldId="375"/>
            <ac:spMk id="13" creationId="{93412675-62AA-41D8-997C-4E877ED953A8}"/>
          </ac:spMkLst>
        </pc:spChg>
        <pc:graphicFrameChg chg="mod modGraphic">
          <ac:chgData name="Meyer Raphael (PAR-ES)" userId="79615dfe-ed48-4e74-a40f-4f7b034c1c27" providerId="ADAL" clId="{406498AA-FC02-4732-8D04-74CC3D33B241}" dt="2021-10-14T12:40:40.765" v="32" actId="20577"/>
          <ac:graphicFrameMkLst>
            <pc:docMk/>
            <pc:sldMk cId="3759573184" sldId="375"/>
            <ac:graphicFrameMk id="9" creationId="{E1369C63-C4A7-403B-A03F-B004599F910A}"/>
          </ac:graphicFrameMkLst>
        </pc:graphicFrameChg>
        <pc:cxnChg chg="mod">
          <ac:chgData name="Meyer Raphael (PAR-ES)" userId="79615dfe-ed48-4e74-a40f-4f7b034c1c27" providerId="ADAL" clId="{406498AA-FC02-4732-8D04-74CC3D33B241}" dt="2021-10-14T12:42:27.536" v="50" actId="1037"/>
          <ac:cxnSpMkLst>
            <pc:docMk/>
            <pc:sldMk cId="3759573184" sldId="375"/>
            <ac:cxnSpMk id="8" creationId="{6F3EB9D3-E612-42D9-859B-1905BD876C26}"/>
          </ac:cxnSpMkLst>
        </pc:cxnChg>
      </pc:sldChg>
      <pc:sldChg chg="modSp add mod">
        <pc:chgData name="Meyer Raphael (PAR-ES)" userId="79615dfe-ed48-4e74-a40f-4f7b034c1c27" providerId="ADAL" clId="{406498AA-FC02-4732-8D04-74CC3D33B241}" dt="2021-10-14T12:43:36.532" v="60" actId="1037"/>
        <pc:sldMkLst>
          <pc:docMk/>
          <pc:sldMk cId="3027727826" sldId="376"/>
        </pc:sldMkLst>
        <pc:spChg chg="mod">
          <ac:chgData name="Meyer Raphael (PAR-ES)" userId="79615dfe-ed48-4e74-a40f-4f7b034c1c27" providerId="ADAL" clId="{406498AA-FC02-4732-8D04-74CC3D33B241}" dt="2021-10-14T12:43:36.532" v="60" actId="1037"/>
          <ac:spMkLst>
            <pc:docMk/>
            <pc:sldMk cId="3027727826" sldId="376"/>
            <ac:spMk id="12" creationId="{970D2C07-63A2-4265-B006-56F685FE80A5}"/>
          </ac:spMkLst>
        </pc:spChg>
        <pc:spChg chg="mod">
          <ac:chgData name="Meyer Raphael (PAR-ES)" userId="79615dfe-ed48-4e74-a40f-4f7b034c1c27" providerId="ADAL" clId="{406498AA-FC02-4732-8D04-74CC3D33B241}" dt="2021-10-14T12:43:36.532" v="60" actId="1037"/>
          <ac:spMkLst>
            <pc:docMk/>
            <pc:sldMk cId="3027727826" sldId="376"/>
            <ac:spMk id="13" creationId="{93412675-62AA-41D8-997C-4E877ED953A8}"/>
          </ac:spMkLst>
        </pc:spChg>
        <pc:graphicFrameChg chg="mod modGraphic">
          <ac:chgData name="Meyer Raphael (PAR-ES)" userId="79615dfe-ed48-4e74-a40f-4f7b034c1c27" providerId="ADAL" clId="{406498AA-FC02-4732-8D04-74CC3D33B241}" dt="2021-10-14T12:40:48.677" v="37"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406498AA-FC02-4732-8D04-74CC3D33B241}" dt="2021-10-14T12:43:36.532" v="60" actId="1037"/>
          <ac:cxnSpMkLst>
            <pc:docMk/>
            <pc:sldMk cId="3027727826" sldId="376"/>
            <ac:cxnSpMk id="8" creationId="{6F3EB9D3-E612-42D9-859B-1905BD876C26}"/>
          </ac:cxnSpMkLst>
        </pc:cxnChg>
      </pc:sldChg>
    </pc:docChg>
  </pc:docChgLst>
  <pc:docChgLst>
    <pc:chgData name="Meyer Raphael (PAR-ES)" userId="79615dfe-ed48-4e74-a40f-4f7b034c1c27" providerId="ADAL" clId="{E9CDB45E-1140-4018-8EC9-33D2ECEB95F1}"/>
    <pc:docChg chg="undo custSel modSld sldOrd">
      <pc:chgData name="Meyer Raphael (PAR-ES)" userId="79615dfe-ed48-4e74-a40f-4f7b034c1c27" providerId="ADAL" clId="{E9CDB45E-1140-4018-8EC9-33D2ECEB95F1}" dt="2021-06-17T07:29:28.117" v="133" actId="27918"/>
      <pc:docMkLst>
        <pc:docMk/>
      </pc:docMkLst>
      <pc:sldChg chg="modSp mod ord">
        <pc:chgData name="Meyer Raphael (PAR-ES)" userId="79615dfe-ed48-4e74-a40f-4f7b034c1c27" providerId="ADAL" clId="{E9CDB45E-1140-4018-8EC9-33D2ECEB95F1}" dt="2021-06-17T07:27:44.033" v="126" actId="20577"/>
        <pc:sldMkLst>
          <pc:docMk/>
          <pc:sldMk cId="1495152177" sldId="298"/>
        </pc:sldMkLst>
        <pc:graphicFrameChg chg="modGraphic">
          <ac:chgData name="Meyer Raphael (PAR-ES)" userId="79615dfe-ed48-4e74-a40f-4f7b034c1c27" providerId="ADAL" clId="{E9CDB45E-1140-4018-8EC9-33D2ECEB95F1}" dt="2021-06-17T07:27:44.033" v="126" actId="20577"/>
          <ac:graphicFrameMkLst>
            <pc:docMk/>
            <pc:sldMk cId="1495152177" sldId="298"/>
            <ac:graphicFrameMk id="9" creationId="{E1369C63-C4A7-403B-A03F-B004599F910A}"/>
          </ac:graphicFrameMkLst>
        </pc:graphicFrameChg>
      </pc:sldChg>
      <pc:sldChg chg="modTransition">
        <pc:chgData name="Meyer Raphael (PAR-ES)" userId="79615dfe-ed48-4e74-a40f-4f7b034c1c27" providerId="ADAL" clId="{E9CDB45E-1140-4018-8EC9-33D2ECEB95F1}" dt="2021-06-17T07:27:32.144" v="124"/>
        <pc:sldMkLst>
          <pc:docMk/>
          <pc:sldMk cId="1667945532" sldId="306"/>
        </pc:sldMkLst>
      </pc:sldChg>
      <pc:sldChg chg="modTransition">
        <pc:chgData name="Meyer Raphael (PAR-ES)" userId="79615dfe-ed48-4e74-a40f-4f7b034c1c27" providerId="ADAL" clId="{E9CDB45E-1140-4018-8EC9-33D2ECEB95F1}" dt="2021-06-17T07:27:32.144" v="124"/>
        <pc:sldMkLst>
          <pc:docMk/>
          <pc:sldMk cId="4233813445" sldId="361"/>
        </pc:sldMkLst>
      </pc:sldChg>
      <pc:sldChg chg="modTransition">
        <pc:chgData name="Meyer Raphael (PAR-ES)" userId="79615dfe-ed48-4e74-a40f-4f7b034c1c27" providerId="ADAL" clId="{E9CDB45E-1140-4018-8EC9-33D2ECEB95F1}" dt="2021-06-17T07:27:32.144" v="124"/>
        <pc:sldMkLst>
          <pc:docMk/>
          <pc:sldMk cId="2720568063" sldId="362"/>
        </pc:sldMkLst>
      </pc:sldChg>
      <pc:sldChg chg="modSp mod ord">
        <pc:chgData name="Meyer Raphael (PAR-ES)" userId="79615dfe-ed48-4e74-a40f-4f7b034c1c27" providerId="ADAL" clId="{E9CDB45E-1140-4018-8EC9-33D2ECEB95F1}" dt="2021-06-17T07:29:28.117" v="133" actId="27918"/>
        <pc:sldMkLst>
          <pc:docMk/>
          <pc:sldMk cId="3590012689" sldId="365"/>
        </pc:sldMkLst>
        <pc:spChg chg="mod">
          <ac:chgData name="Meyer Raphael (PAR-ES)" userId="79615dfe-ed48-4e74-a40f-4f7b034c1c27" providerId="ADAL" clId="{E9CDB45E-1140-4018-8EC9-33D2ECEB95F1}" dt="2021-06-16T12:02:45.223" v="40" actId="1076"/>
          <ac:spMkLst>
            <pc:docMk/>
            <pc:sldMk cId="3590012689" sldId="365"/>
            <ac:spMk id="6" creationId="{0EEE4EA3-E16E-424B-97F9-53A8F5D585AE}"/>
          </ac:spMkLst>
        </pc:spChg>
        <pc:graphicFrameChg chg="mod">
          <ac:chgData name="Meyer Raphael (PAR-ES)" userId="79615dfe-ed48-4e74-a40f-4f7b034c1c27" providerId="ADAL" clId="{E9CDB45E-1140-4018-8EC9-33D2ECEB95F1}" dt="2021-06-16T12:02:38.755" v="39" actId="2084"/>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E9CDB45E-1140-4018-8EC9-33D2ECEB95F1}" dt="2021-06-17T07:27:49.046" v="128" actId="20577"/>
          <ac:graphicFrameMkLst>
            <pc:docMk/>
            <pc:sldMk cId="3590012689" sldId="365"/>
            <ac:graphicFrameMk id="9" creationId="{E1369C63-C4A7-403B-A03F-B004599F910A}"/>
          </ac:graphicFrameMkLst>
        </pc:graphicFrameChg>
      </pc:sldChg>
      <pc:sldChg chg="modSp mod ord">
        <pc:chgData name="Meyer Raphael (PAR-ES)" userId="79615dfe-ed48-4e74-a40f-4f7b034c1c27" providerId="ADAL" clId="{E9CDB45E-1140-4018-8EC9-33D2ECEB95F1}" dt="2021-06-17T07:27:52.158" v="130" actId="20577"/>
        <pc:sldMkLst>
          <pc:docMk/>
          <pc:sldMk cId="689864941" sldId="366"/>
        </pc:sldMkLst>
        <pc:spChg chg="mod">
          <ac:chgData name="Meyer Raphael (PAR-ES)" userId="79615dfe-ed48-4e74-a40f-4f7b034c1c27" providerId="ADAL" clId="{E9CDB45E-1140-4018-8EC9-33D2ECEB95F1}" dt="2021-06-16T12:03:59.776" v="47" actId="1076"/>
          <ac:spMkLst>
            <pc:docMk/>
            <pc:sldMk cId="689864941" sldId="366"/>
            <ac:spMk id="6" creationId="{0EEE4EA3-E16E-424B-97F9-53A8F5D585AE}"/>
          </ac:spMkLst>
        </pc:spChg>
        <pc:graphicFrameChg chg="mod">
          <ac:chgData name="Meyer Raphael (PAR-ES)" userId="79615dfe-ed48-4e74-a40f-4f7b034c1c27" providerId="ADAL" clId="{E9CDB45E-1140-4018-8EC9-33D2ECEB95F1}" dt="2021-06-16T12:03:53.131" v="45" actId="2084"/>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E9CDB45E-1140-4018-8EC9-33D2ECEB95F1}" dt="2021-06-17T07:27:52.158" v="130"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138FBAD4-A7EE-47CF-8A8C-1E7C2BC2F598}"/>
    <pc:docChg chg="modSld">
      <pc:chgData name="Meyer Raphael (PAR-ES)" userId="79615dfe-ed48-4e74-a40f-4f7b034c1c27" providerId="ADAL" clId="{138FBAD4-A7EE-47CF-8A8C-1E7C2BC2F598}" dt="2021-08-13T11:00:10.357" v="99" actId="1037"/>
      <pc:docMkLst>
        <pc:docMk/>
      </pc:docMkLst>
      <pc:sldChg chg="modSp mod">
        <pc:chgData name="Meyer Raphael (PAR-ES)" userId="79615dfe-ed48-4e74-a40f-4f7b034c1c27" providerId="ADAL" clId="{138FBAD4-A7EE-47CF-8A8C-1E7C2BC2F598}" dt="2021-08-13T10:55:33.649" v="43" actId="1038"/>
        <pc:sldMkLst>
          <pc:docMk/>
          <pc:sldMk cId="1495152177" sldId="298"/>
        </pc:sldMkLst>
        <pc:spChg chg="mod">
          <ac:chgData name="Meyer Raphael (PAR-ES)" userId="79615dfe-ed48-4e74-a40f-4f7b034c1c27" providerId="ADAL" clId="{138FBAD4-A7EE-47CF-8A8C-1E7C2BC2F598}" dt="2021-08-13T10:55:33.649" v="43" actId="1038"/>
          <ac:spMkLst>
            <pc:docMk/>
            <pc:sldMk cId="1495152177" sldId="298"/>
            <ac:spMk id="12" creationId="{970D2C07-63A2-4265-B006-56F685FE80A5}"/>
          </ac:spMkLst>
        </pc:spChg>
        <pc:spChg chg="mod">
          <ac:chgData name="Meyer Raphael (PAR-ES)" userId="79615dfe-ed48-4e74-a40f-4f7b034c1c27" providerId="ADAL" clId="{138FBAD4-A7EE-47CF-8A8C-1E7C2BC2F598}" dt="2021-08-13T10:55:33.649" v="43" actId="1038"/>
          <ac:spMkLst>
            <pc:docMk/>
            <pc:sldMk cId="1495152177" sldId="298"/>
            <ac:spMk id="13" creationId="{93412675-62AA-41D8-997C-4E877ED953A8}"/>
          </ac:spMkLst>
        </pc:spChg>
        <pc:graphicFrameChg chg="modGraphic">
          <ac:chgData name="Meyer Raphael (PAR-ES)" userId="79615dfe-ed48-4e74-a40f-4f7b034c1c27" providerId="ADAL" clId="{138FBAD4-A7EE-47CF-8A8C-1E7C2BC2F598}" dt="2021-08-13T10:49:35.522" v="13"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138FBAD4-A7EE-47CF-8A8C-1E7C2BC2F598}" dt="2021-08-13T10:55:33.649" v="43" actId="1038"/>
          <ac:cxnSpMkLst>
            <pc:docMk/>
            <pc:sldMk cId="1495152177" sldId="298"/>
            <ac:cxnSpMk id="8" creationId="{6F3EB9D3-E612-42D9-859B-1905BD876C26}"/>
          </ac:cxnSpMkLst>
        </pc:cxnChg>
      </pc:sldChg>
      <pc:sldChg chg="modSp mod">
        <pc:chgData name="Meyer Raphael (PAR-ES)" userId="79615dfe-ed48-4e74-a40f-4f7b034c1c27" providerId="ADAL" clId="{138FBAD4-A7EE-47CF-8A8C-1E7C2BC2F598}" dt="2021-08-13T10:58:05.346" v="68" actId="1038"/>
        <pc:sldMkLst>
          <pc:docMk/>
          <pc:sldMk cId="3590012689" sldId="365"/>
        </pc:sldMkLst>
        <pc:spChg chg="mod">
          <ac:chgData name="Meyer Raphael (PAR-ES)" userId="79615dfe-ed48-4e74-a40f-4f7b034c1c27" providerId="ADAL" clId="{138FBAD4-A7EE-47CF-8A8C-1E7C2BC2F598}" dt="2021-08-13T10:58:05.346" v="68" actId="1038"/>
          <ac:spMkLst>
            <pc:docMk/>
            <pc:sldMk cId="3590012689" sldId="365"/>
            <ac:spMk id="12" creationId="{970D2C07-63A2-4265-B006-56F685FE80A5}"/>
          </ac:spMkLst>
        </pc:spChg>
        <pc:spChg chg="mod">
          <ac:chgData name="Meyer Raphael (PAR-ES)" userId="79615dfe-ed48-4e74-a40f-4f7b034c1c27" providerId="ADAL" clId="{138FBAD4-A7EE-47CF-8A8C-1E7C2BC2F598}" dt="2021-08-13T10:58:05.346" v="68" actId="1038"/>
          <ac:spMkLst>
            <pc:docMk/>
            <pc:sldMk cId="3590012689" sldId="365"/>
            <ac:spMk id="13" creationId="{93412675-62AA-41D8-997C-4E877ED953A8}"/>
          </ac:spMkLst>
        </pc:spChg>
        <pc:graphicFrameChg chg="mod modGraphic">
          <ac:chgData name="Meyer Raphael (PAR-ES)" userId="79615dfe-ed48-4e74-a40f-4f7b034c1c27" providerId="ADAL" clId="{138FBAD4-A7EE-47CF-8A8C-1E7C2BC2F598}" dt="2021-08-13T10:49:52.192" v="14"/>
          <ac:graphicFrameMkLst>
            <pc:docMk/>
            <pc:sldMk cId="3590012689" sldId="365"/>
            <ac:graphicFrameMk id="9" creationId="{E1369C63-C4A7-403B-A03F-B004599F910A}"/>
          </ac:graphicFrameMkLst>
        </pc:graphicFrameChg>
        <pc:cxnChg chg="mod">
          <ac:chgData name="Meyer Raphael (PAR-ES)" userId="79615dfe-ed48-4e74-a40f-4f7b034c1c27" providerId="ADAL" clId="{138FBAD4-A7EE-47CF-8A8C-1E7C2BC2F598}" dt="2021-08-13T10:58:05.346" v="68" actId="1038"/>
          <ac:cxnSpMkLst>
            <pc:docMk/>
            <pc:sldMk cId="3590012689" sldId="365"/>
            <ac:cxnSpMk id="8" creationId="{6F3EB9D3-E612-42D9-859B-1905BD876C26}"/>
          </ac:cxnSpMkLst>
        </pc:cxnChg>
      </pc:sldChg>
      <pc:sldChg chg="modSp mod">
        <pc:chgData name="Meyer Raphael (PAR-ES)" userId="79615dfe-ed48-4e74-a40f-4f7b034c1c27" providerId="ADAL" clId="{138FBAD4-A7EE-47CF-8A8C-1E7C2BC2F598}" dt="2021-08-13T11:00:10.357" v="99" actId="1037"/>
        <pc:sldMkLst>
          <pc:docMk/>
          <pc:sldMk cId="689864941" sldId="366"/>
        </pc:sldMkLst>
        <pc:spChg chg="mod">
          <ac:chgData name="Meyer Raphael (PAR-ES)" userId="79615dfe-ed48-4e74-a40f-4f7b034c1c27" providerId="ADAL" clId="{138FBAD4-A7EE-47CF-8A8C-1E7C2BC2F598}" dt="2021-08-13T11:00:10.357" v="99" actId="1037"/>
          <ac:spMkLst>
            <pc:docMk/>
            <pc:sldMk cId="689864941" sldId="366"/>
            <ac:spMk id="12" creationId="{970D2C07-63A2-4265-B006-56F685FE80A5}"/>
          </ac:spMkLst>
        </pc:spChg>
        <pc:spChg chg="mod">
          <ac:chgData name="Meyer Raphael (PAR-ES)" userId="79615dfe-ed48-4e74-a40f-4f7b034c1c27" providerId="ADAL" clId="{138FBAD4-A7EE-47CF-8A8C-1E7C2BC2F598}" dt="2021-08-13T11:00:10.357" v="99" actId="1037"/>
          <ac:spMkLst>
            <pc:docMk/>
            <pc:sldMk cId="689864941" sldId="366"/>
            <ac:spMk id="13" creationId="{93412675-62AA-41D8-997C-4E877ED953A8}"/>
          </ac:spMkLst>
        </pc:spChg>
        <pc:graphicFrameChg chg="mod modGraphic">
          <ac:chgData name="Meyer Raphael (PAR-ES)" userId="79615dfe-ed48-4e74-a40f-4f7b034c1c27" providerId="ADAL" clId="{138FBAD4-A7EE-47CF-8A8C-1E7C2BC2F598}" dt="2021-08-13T10:49:56.922" v="15"/>
          <ac:graphicFrameMkLst>
            <pc:docMk/>
            <pc:sldMk cId="689864941" sldId="366"/>
            <ac:graphicFrameMk id="9" creationId="{E1369C63-C4A7-403B-A03F-B004599F910A}"/>
          </ac:graphicFrameMkLst>
        </pc:graphicFrameChg>
        <pc:cxnChg chg="mod">
          <ac:chgData name="Meyer Raphael (PAR-ES)" userId="79615dfe-ed48-4e74-a40f-4f7b034c1c27" providerId="ADAL" clId="{138FBAD4-A7EE-47CF-8A8C-1E7C2BC2F598}" dt="2021-08-13T11:00:10.357" v="99" actId="1037"/>
          <ac:cxnSpMkLst>
            <pc:docMk/>
            <pc:sldMk cId="689864941" sldId="366"/>
            <ac:cxnSpMk id="8" creationId="{6F3EB9D3-E612-42D9-859B-1905BD876C26}"/>
          </ac:cxnSpMkLst>
        </pc:cxnChg>
      </pc:sldChg>
    </pc:docChg>
  </pc:docChgLst>
  <pc:docChgLst>
    <pc:chgData name="Meyer Raphael (PAR-ES)" userId="79615dfe-ed48-4e74-a40f-4f7b034c1c27" providerId="ADAL" clId="{3868D7A6-4E51-4910-8227-BB5E5AE62424}"/>
    <pc:docChg chg="undo custSel addSld delSld modSld sldOrd">
      <pc:chgData name="Meyer Raphael (PAR-ES)" userId="79615dfe-ed48-4e74-a40f-4f7b034c1c27" providerId="ADAL" clId="{3868D7A6-4E51-4910-8227-BB5E5AE62424}" dt="2021-06-11T07:18:27.335" v="86" actId="2696"/>
      <pc:docMkLst>
        <pc:docMk/>
      </pc:docMkLst>
      <pc:sldChg chg="addSp delSp modSp mod">
        <pc:chgData name="Meyer Raphael (PAR-ES)" userId="79615dfe-ed48-4e74-a40f-4f7b034c1c27" providerId="ADAL" clId="{3868D7A6-4E51-4910-8227-BB5E5AE62424}" dt="2021-06-11T07:15:23.082" v="60" actId="1076"/>
        <pc:sldMkLst>
          <pc:docMk/>
          <pc:sldMk cId="1667945532" sldId="306"/>
        </pc:sldMkLst>
        <pc:spChg chg="mod">
          <ac:chgData name="Meyer Raphael (PAR-ES)" userId="79615dfe-ed48-4e74-a40f-4f7b034c1c27" providerId="ADAL" clId="{3868D7A6-4E51-4910-8227-BB5E5AE62424}" dt="2021-06-11T07:07:25.091" v="7" actId="20577"/>
          <ac:spMkLst>
            <pc:docMk/>
            <pc:sldMk cId="1667945532" sldId="306"/>
            <ac:spMk id="8" creationId="{5857C2A1-2CB8-4D4A-AEFD-E809BF73D04F}"/>
          </ac:spMkLst>
        </pc:spChg>
        <pc:spChg chg="mod">
          <ac:chgData name="Meyer Raphael (PAR-ES)" userId="79615dfe-ed48-4e74-a40f-4f7b034c1c27" providerId="ADAL" clId="{3868D7A6-4E51-4910-8227-BB5E5AE62424}" dt="2021-06-11T07:07:50.930" v="17" actId="20577"/>
          <ac:spMkLst>
            <pc:docMk/>
            <pc:sldMk cId="1667945532" sldId="306"/>
            <ac:spMk id="27" creationId="{46A6B042-39EE-4A58-BBAA-13D52264B660}"/>
          </ac:spMkLst>
        </pc:spChg>
        <pc:spChg chg="mod">
          <ac:chgData name="Meyer Raphael (PAR-ES)" userId="79615dfe-ed48-4e74-a40f-4f7b034c1c27" providerId="ADAL" clId="{3868D7A6-4E51-4910-8227-BB5E5AE62424}" dt="2021-06-11T07:15:23.082" v="60" actId="1076"/>
          <ac:spMkLst>
            <pc:docMk/>
            <pc:sldMk cId="1667945532" sldId="306"/>
            <ac:spMk id="28" creationId="{4492A3CD-6943-423D-BFEC-8129889E8B6F}"/>
          </ac:spMkLst>
        </pc:spChg>
        <pc:spChg chg="mod">
          <ac:chgData name="Meyer Raphael (PAR-ES)" userId="79615dfe-ed48-4e74-a40f-4f7b034c1c27" providerId="ADAL" clId="{3868D7A6-4E51-4910-8227-BB5E5AE62424}" dt="2021-06-11T07:08:01.788" v="21" actId="20577"/>
          <ac:spMkLst>
            <pc:docMk/>
            <pc:sldMk cId="1667945532" sldId="306"/>
            <ac:spMk id="31" creationId="{7491A47D-CAD4-478D-8F3A-296FFCB799F9}"/>
          </ac:spMkLst>
        </pc:spChg>
        <pc:spChg chg="add del mod">
          <ac:chgData name="Meyer Raphael (PAR-ES)" userId="79615dfe-ed48-4e74-a40f-4f7b034c1c27" providerId="ADAL" clId="{3868D7A6-4E51-4910-8227-BB5E5AE62424}" dt="2021-06-11T07:11:06.659" v="40" actId="1076"/>
          <ac:spMkLst>
            <pc:docMk/>
            <pc:sldMk cId="1667945532" sldId="306"/>
            <ac:spMk id="32" creationId="{E65DDA4F-7190-4D5B-B875-6818D18C9F6E}"/>
          </ac:spMkLst>
        </pc:spChg>
        <pc:graphicFrameChg chg="mod">
          <ac:chgData name="Meyer Raphael (PAR-ES)" userId="79615dfe-ed48-4e74-a40f-4f7b034c1c27" providerId="ADAL" clId="{3868D7A6-4E51-4910-8227-BB5E5AE62424}" dt="2021-06-11T07:15:13.927" v="59"/>
          <ac:graphicFrameMkLst>
            <pc:docMk/>
            <pc:sldMk cId="1667945532" sldId="306"/>
            <ac:graphicFrameMk id="24" creationId="{B6049B58-D743-4BF8-ADBD-2CBD12961E56}"/>
          </ac:graphicFrameMkLst>
        </pc:graphicFrameChg>
      </pc:sldChg>
      <pc:sldChg chg="modSp del mod">
        <pc:chgData name="Meyer Raphael (PAR-ES)" userId="79615dfe-ed48-4e74-a40f-4f7b034c1c27" providerId="ADAL" clId="{3868D7A6-4E51-4910-8227-BB5E5AE62424}" dt="2021-06-11T07:16:56.014" v="75" actId="47"/>
        <pc:sldMkLst>
          <pc:docMk/>
          <pc:sldMk cId="1357620443" sldId="359"/>
        </pc:sldMkLst>
        <pc:spChg chg="mod">
          <ac:chgData name="Meyer Raphael (PAR-ES)" userId="79615dfe-ed48-4e74-a40f-4f7b034c1c27" providerId="ADAL" clId="{3868D7A6-4E51-4910-8227-BB5E5AE62424}" dt="2021-06-11T07:16:28.462" v="72" actId="1076"/>
          <ac:spMkLst>
            <pc:docMk/>
            <pc:sldMk cId="1357620443" sldId="359"/>
            <ac:spMk id="2" creationId="{A2DC317F-F1F4-4624-8FC1-3B68C1DBB3DA}"/>
          </ac:spMkLst>
        </pc:spChg>
      </pc:sldChg>
      <pc:sldChg chg="modSp del mod">
        <pc:chgData name="Meyer Raphael (PAR-ES)" userId="79615dfe-ed48-4e74-a40f-4f7b034c1c27" providerId="ADAL" clId="{3868D7A6-4E51-4910-8227-BB5E5AE62424}" dt="2021-06-11T07:18:27.335" v="86" actId="2696"/>
        <pc:sldMkLst>
          <pc:docMk/>
          <pc:sldMk cId="2316055797" sldId="360"/>
        </pc:sldMkLst>
        <pc:spChg chg="mod">
          <ac:chgData name="Meyer Raphael (PAR-ES)" userId="79615dfe-ed48-4e74-a40f-4f7b034c1c27" providerId="ADAL" clId="{3868D7A6-4E51-4910-8227-BB5E5AE62424}" dt="2021-06-11T07:18:13.047" v="84" actId="21"/>
          <ac:spMkLst>
            <pc:docMk/>
            <pc:sldMk cId="2316055797" sldId="360"/>
            <ac:spMk id="8" creationId="{5857C2A1-2CB8-4D4A-AEFD-E809BF73D04F}"/>
          </ac:spMkLst>
        </pc:spChg>
      </pc:sldChg>
      <pc:sldChg chg="addSp delSp modSp add mod ord">
        <pc:chgData name="Meyer Raphael (PAR-ES)" userId="79615dfe-ed48-4e74-a40f-4f7b034c1c27" providerId="ADAL" clId="{3868D7A6-4E51-4910-8227-BB5E5AE62424}" dt="2021-06-11T07:16:43.150" v="74"/>
        <pc:sldMkLst>
          <pc:docMk/>
          <pc:sldMk cId="4233813445" sldId="361"/>
        </pc:sldMkLst>
        <pc:spChg chg="mod">
          <ac:chgData name="Meyer Raphael (PAR-ES)" userId="79615dfe-ed48-4e74-a40f-4f7b034c1c27" providerId="ADAL" clId="{3868D7A6-4E51-4910-8227-BB5E5AE62424}" dt="2021-06-11T07:16:14.668" v="69"/>
          <ac:spMkLst>
            <pc:docMk/>
            <pc:sldMk cId="4233813445" sldId="361"/>
            <ac:spMk id="2" creationId="{A2DC317F-F1F4-4624-8FC1-3B68C1DBB3DA}"/>
          </ac:spMkLst>
        </pc:spChg>
        <pc:spChg chg="del">
          <ac:chgData name="Meyer Raphael (PAR-ES)" userId="79615dfe-ed48-4e74-a40f-4f7b034c1c27" providerId="ADAL" clId="{3868D7A6-4E51-4910-8227-BB5E5AE62424}" dt="2021-06-11T07:15:41.424" v="67" actId="478"/>
          <ac:spMkLst>
            <pc:docMk/>
            <pc:sldMk cId="4233813445" sldId="361"/>
            <ac:spMk id="7" creationId="{BA3F9A72-0541-4D1F-8CD8-1C2B8074FA1B}"/>
          </ac:spMkLst>
        </pc:spChg>
        <pc:spChg chg="mod">
          <ac:chgData name="Meyer Raphael (PAR-ES)" userId="79615dfe-ed48-4e74-a40f-4f7b034c1c27" providerId="ADAL" clId="{3868D7A6-4E51-4910-8227-BB5E5AE62424}" dt="2021-06-11T07:16:43.150" v="74"/>
          <ac:spMkLst>
            <pc:docMk/>
            <pc:sldMk cId="4233813445" sldId="361"/>
            <ac:spMk id="8" creationId="{5857C2A1-2CB8-4D4A-AEFD-E809BF73D04F}"/>
          </ac:spMkLst>
        </pc:spChg>
        <pc:spChg chg="del">
          <ac:chgData name="Meyer Raphael (PAR-ES)" userId="79615dfe-ed48-4e74-a40f-4f7b034c1c27" providerId="ADAL" clId="{3868D7A6-4E51-4910-8227-BB5E5AE62424}" dt="2021-06-11T07:15:41.424" v="67" actId="478"/>
          <ac:spMkLst>
            <pc:docMk/>
            <pc:sldMk cId="4233813445" sldId="361"/>
            <ac:spMk id="9" creationId="{B6990B61-32B2-4ADC-BF01-EDF7B4080F97}"/>
          </ac:spMkLst>
        </pc:spChg>
        <pc:spChg chg="mod">
          <ac:chgData name="Meyer Raphael (PAR-ES)" userId="79615dfe-ed48-4e74-a40f-4f7b034c1c27" providerId="ADAL" clId="{3868D7A6-4E51-4910-8227-BB5E5AE62424}" dt="2021-06-11T07:16:22.590" v="70"/>
          <ac:spMkLst>
            <pc:docMk/>
            <pc:sldMk cId="4233813445" sldId="361"/>
            <ac:spMk id="10" creationId="{077DFD58-E5EE-4B68-9325-D935DB04DD40}"/>
          </ac:spMkLst>
        </pc:spChg>
        <pc:spChg chg="del">
          <ac:chgData name="Meyer Raphael (PAR-ES)" userId="79615dfe-ed48-4e74-a40f-4f7b034c1c27" providerId="ADAL" clId="{3868D7A6-4E51-4910-8227-BB5E5AE62424}" dt="2021-06-11T07:15:41.424" v="67" actId="478"/>
          <ac:spMkLst>
            <pc:docMk/>
            <pc:sldMk cId="4233813445" sldId="361"/>
            <ac:spMk id="17" creationId="{785E740C-F94A-4208-8DFD-63A603C16577}"/>
          </ac:spMkLst>
        </pc:spChg>
        <pc:spChg chg="add mod">
          <ac:chgData name="Meyer Raphael (PAR-ES)" userId="79615dfe-ed48-4e74-a40f-4f7b034c1c27" providerId="ADAL" clId="{3868D7A6-4E51-4910-8227-BB5E5AE62424}" dt="2021-06-11T07:15:50.242" v="68"/>
          <ac:spMkLst>
            <pc:docMk/>
            <pc:sldMk cId="4233813445" sldId="361"/>
            <ac:spMk id="21" creationId="{CFB058F8-83B6-4C65-9942-5E7EF730245F}"/>
          </ac:spMkLst>
        </pc:spChg>
        <pc:spChg chg="add mod">
          <ac:chgData name="Meyer Raphael (PAR-ES)" userId="79615dfe-ed48-4e74-a40f-4f7b034c1c27" providerId="ADAL" clId="{3868D7A6-4E51-4910-8227-BB5E5AE62424}" dt="2021-06-11T07:15:50.242" v="68"/>
          <ac:spMkLst>
            <pc:docMk/>
            <pc:sldMk cId="4233813445" sldId="361"/>
            <ac:spMk id="22" creationId="{6546A983-7F99-41C9-BC0A-EA422CEC0B6C}"/>
          </ac:spMkLst>
        </pc:spChg>
        <pc:spChg chg="add mod">
          <ac:chgData name="Meyer Raphael (PAR-ES)" userId="79615dfe-ed48-4e74-a40f-4f7b034c1c27" providerId="ADAL" clId="{3868D7A6-4E51-4910-8227-BB5E5AE62424}" dt="2021-06-11T07:15:50.242" v="68"/>
          <ac:spMkLst>
            <pc:docMk/>
            <pc:sldMk cId="4233813445" sldId="361"/>
            <ac:spMk id="23" creationId="{A5CDB6A2-6783-4CA4-A683-86C15BF17E48}"/>
          </ac:spMkLst>
        </pc:spChg>
        <pc:spChg chg="add mod">
          <ac:chgData name="Meyer Raphael (PAR-ES)" userId="79615dfe-ed48-4e74-a40f-4f7b034c1c27" providerId="ADAL" clId="{3868D7A6-4E51-4910-8227-BB5E5AE62424}" dt="2021-06-11T07:15:50.242" v="68"/>
          <ac:spMkLst>
            <pc:docMk/>
            <pc:sldMk cId="4233813445" sldId="361"/>
            <ac:spMk id="25" creationId="{4A25BD2A-D11D-4F62-AE82-D86449E80A7E}"/>
          </ac:spMkLst>
        </pc:spChg>
        <pc:spChg chg="del">
          <ac:chgData name="Meyer Raphael (PAR-ES)" userId="79615dfe-ed48-4e74-a40f-4f7b034c1c27" providerId="ADAL" clId="{3868D7A6-4E51-4910-8227-BB5E5AE62424}" dt="2021-06-11T07:15:41.424" v="67" actId="478"/>
          <ac:spMkLst>
            <pc:docMk/>
            <pc:sldMk cId="4233813445" sldId="361"/>
            <ac:spMk id="26" creationId="{BFD498B5-D73E-4C8A-9FAF-B3547647538C}"/>
          </ac:spMkLst>
        </pc:spChg>
        <pc:spChg chg="mod">
          <ac:chgData name="Meyer Raphael (PAR-ES)" userId="79615dfe-ed48-4e74-a40f-4f7b034c1c27" providerId="ADAL" clId="{3868D7A6-4E51-4910-8227-BB5E5AE62424}" dt="2021-06-11T07:16:36.627" v="73"/>
          <ac:spMkLst>
            <pc:docMk/>
            <pc:sldMk cId="4233813445" sldId="361"/>
            <ac:spMk id="27" creationId="{46A6B042-39EE-4A58-BBAA-13D52264B660}"/>
          </ac:spMkLst>
        </pc:spChg>
      </pc:sldChg>
      <pc:sldChg chg="addSp delSp modSp add mod ord">
        <pc:chgData name="Meyer Raphael (PAR-ES)" userId="79615dfe-ed48-4e74-a40f-4f7b034c1c27" providerId="ADAL" clId="{3868D7A6-4E51-4910-8227-BB5E5AE62424}" dt="2021-06-11T07:18:16.099" v="85"/>
        <pc:sldMkLst>
          <pc:docMk/>
          <pc:sldMk cId="2720568063" sldId="362"/>
        </pc:sldMkLst>
        <pc:spChg chg="mod">
          <ac:chgData name="Meyer Raphael (PAR-ES)" userId="79615dfe-ed48-4e74-a40f-4f7b034c1c27" providerId="ADAL" clId="{3868D7A6-4E51-4910-8227-BB5E5AE62424}" dt="2021-06-11T07:17:16.070" v="76"/>
          <ac:spMkLst>
            <pc:docMk/>
            <pc:sldMk cId="2720568063" sldId="362"/>
            <ac:spMk id="2" creationId="{A2DC317F-F1F4-4624-8FC1-3B68C1DBB3DA}"/>
          </ac:spMkLst>
        </pc:spChg>
        <pc:spChg chg="del">
          <ac:chgData name="Meyer Raphael (PAR-ES)" userId="79615dfe-ed48-4e74-a40f-4f7b034c1c27" providerId="ADAL" clId="{3868D7A6-4E51-4910-8227-BB5E5AE62424}" dt="2021-06-11T07:17:22.209" v="77" actId="478"/>
          <ac:spMkLst>
            <pc:docMk/>
            <pc:sldMk cId="2720568063" sldId="362"/>
            <ac:spMk id="7" creationId="{BA3F9A72-0541-4D1F-8CD8-1C2B8074FA1B}"/>
          </ac:spMkLst>
        </pc:spChg>
        <pc:spChg chg="mod">
          <ac:chgData name="Meyer Raphael (PAR-ES)" userId="79615dfe-ed48-4e74-a40f-4f7b034c1c27" providerId="ADAL" clId="{3868D7A6-4E51-4910-8227-BB5E5AE62424}" dt="2021-06-11T07:18:16.099" v="85"/>
          <ac:spMkLst>
            <pc:docMk/>
            <pc:sldMk cId="2720568063" sldId="362"/>
            <ac:spMk id="8" creationId="{5857C2A1-2CB8-4D4A-AEFD-E809BF73D04F}"/>
          </ac:spMkLst>
        </pc:spChg>
        <pc:spChg chg="del">
          <ac:chgData name="Meyer Raphael (PAR-ES)" userId="79615dfe-ed48-4e74-a40f-4f7b034c1c27" providerId="ADAL" clId="{3868D7A6-4E51-4910-8227-BB5E5AE62424}" dt="2021-06-11T07:17:22.209" v="77" actId="478"/>
          <ac:spMkLst>
            <pc:docMk/>
            <pc:sldMk cId="2720568063" sldId="362"/>
            <ac:spMk id="9" creationId="{B6990B61-32B2-4ADC-BF01-EDF7B4080F97}"/>
          </ac:spMkLst>
        </pc:spChg>
        <pc:spChg chg="mod">
          <ac:chgData name="Meyer Raphael (PAR-ES)" userId="79615dfe-ed48-4e74-a40f-4f7b034c1c27" providerId="ADAL" clId="{3868D7A6-4E51-4910-8227-BB5E5AE62424}" dt="2021-06-11T07:17:40.247" v="79"/>
          <ac:spMkLst>
            <pc:docMk/>
            <pc:sldMk cId="2720568063" sldId="362"/>
            <ac:spMk id="10" creationId="{077DFD58-E5EE-4B68-9325-D935DB04DD40}"/>
          </ac:spMkLst>
        </pc:spChg>
        <pc:spChg chg="del">
          <ac:chgData name="Meyer Raphael (PAR-ES)" userId="79615dfe-ed48-4e74-a40f-4f7b034c1c27" providerId="ADAL" clId="{3868D7A6-4E51-4910-8227-BB5E5AE62424}" dt="2021-06-11T07:17:22.209" v="77" actId="478"/>
          <ac:spMkLst>
            <pc:docMk/>
            <pc:sldMk cId="2720568063" sldId="362"/>
            <ac:spMk id="17" creationId="{785E740C-F94A-4208-8DFD-63A603C16577}"/>
          </ac:spMkLst>
        </pc:spChg>
        <pc:spChg chg="add mod">
          <ac:chgData name="Meyer Raphael (PAR-ES)" userId="79615dfe-ed48-4e74-a40f-4f7b034c1c27" providerId="ADAL" clId="{3868D7A6-4E51-4910-8227-BB5E5AE62424}" dt="2021-06-11T07:17:29.877" v="78"/>
          <ac:spMkLst>
            <pc:docMk/>
            <pc:sldMk cId="2720568063" sldId="362"/>
            <ac:spMk id="21" creationId="{41B2A410-111D-481C-B353-CF7DAC144AA4}"/>
          </ac:spMkLst>
        </pc:spChg>
        <pc:spChg chg="add mod">
          <ac:chgData name="Meyer Raphael (PAR-ES)" userId="79615dfe-ed48-4e74-a40f-4f7b034c1c27" providerId="ADAL" clId="{3868D7A6-4E51-4910-8227-BB5E5AE62424}" dt="2021-06-11T07:17:29.877" v="78"/>
          <ac:spMkLst>
            <pc:docMk/>
            <pc:sldMk cId="2720568063" sldId="362"/>
            <ac:spMk id="22" creationId="{4BE7A2DC-2AE8-42BE-8158-98D7D2DB0673}"/>
          </ac:spMkLst>
        </pc:spChg>
        <pc:spChg chg="add mod">
          <ac:chgData name="Meyer Raphael (PAR-ES)" userId="79615dfe-ed48-4e74-a40f-4f7b034c1c27" providerId="ADAL" clId="{3868D7A6-4E51-4910-8227-BB5E5AE62424}" dt="2021-06-11T07:17:29.877" v="78"/>
          <ac:spMkLst>
            <pc:docMk/>
            <pc:sldMk cId="2720568063" sldId="362"/>
            <ac:spMk id="23" creationId="{0E582E98-645C-4BB8-846C-362178056670}"/>
          </ac:spMkLst>
        </pc:spChg>
        <pc:spChg chg="add mod">
          <ac:chgData name="Meyer Raphael (PAR-ES)" userId="79615dfe-ed48-4e74-a40f-4f7b034c1c27" providerId="ADAL" clId="{3868D7A6-4E51-4910-8227-BB5E5AE62424}" dt="2021-06-11T07:17:29.877" v="78"/>
          <ac:spMkLst>
            <pc:docMk/>
            <pc:sldMk cId="2720568063" sldId="362"/>
            <ac:spMk id="25" creationId="{5C63190D-FBEA-4E90-B8D2-2364808E268A}"/>
          </ac:spMkLst>
        </pc:spChg>
        <pc:spChg chg="del">
          <ac:chgData name="Meyer Raphael (PAR-ES)" userId="79615dfe-ed48-4e74-a40f-4f7b034c1c27" providerId="ADAL" clId="{3868D7A6-4E51-4910-8227-BB5E5AE62424}" dt="2021-06-11T07:17:22.209" v="77" actId="478"/>
          <ac:spMkLst>
            <pc:docMk/>
            <pc:sldMk cId="2720568063" sldId="362"/>
            <ac:spMk id="26" creationId="{BFD498B5-D73E-4C8A-9FAF-B3547647538C}"/>
          </ac:spMkLst>
        </pc:spChg>
        <pc:spChg chg="mod">
          <ac:chgData name="Meyer Raphael (PAR-ES)" userId="79615dfe-ed48-4e74-a40f-4f7b034c1c27" providerId="ADAL" clId="{3868D7A6-4E51-4910-8227-BB5E5AE62424}" dt="2021-06-11T07:18:08.051" v="83" actId="14100"/>
          <ac:spMkLst>
            <pc:docMk/>
            <pc:sldMk cId="2720568063" sldId="362"/>
            <ac:spMk id="27" creationId="{46A6B042-39EE-4A58-BBAA-13D52264B660}"/>
          </ac:spMkLst>
        </pc:spChg>
      </pc:sldChg>
    </pc:docChg>
  </pc:docChgLst>
  <pc:docChgLst>
    <pc:chgData name="Meyer Raphael (PAR-ES)" userId="79615dfe-ed48-4e74-a40f-4f7b034c1c27" providerId="ADAL" clId="{132FF8F2-48C6-41EE-8CF3-667233E80772}"/>
    <pc:docChg chg="undo custSel modSld">
      <pc:chgData name="Meyer Raphael (PAR-ES)" userId="79615dfe-ed48-4e74-a40f-4f7b034c1c27" providerId="ADAL" clId="{132FF8F2-48C6-41EE-8CF3-667233E80772}" dt="2021-10-27T08:27:44.495" v="31" actId="20577"/>
      <pc:docMkLst>
        <pc:docMk/>
      </pc:docMkLst>
      <pc:sldChg chg="modSp mod">
        <pc:chgData name="Meyer Raphael (PAR-ES)" userId="79615dfe-ed48-4e74-a40f-4f7b034c1c27" providerId="ADAL" clId="{132FF8F2-48C6-41EE-8CF3-667233E80772}" dt="2021-10-27T08:27:44.495" v="31" actId="20577"/>
        <pc:sldMkLst>
          <pc:docMk/>
          <pc:sldMk cId="200941906" sldId="419"/>
        </pc:sldMkLst>
        <pc:spChg chg="mod">
          <ac:chgData name="Meyer Raphael (PAR-ES)" userId="79615dfe-ed48-4e74-a40f-4f7b034c1c27" providerId="ADAL" clId="{132FF8F2-48C6-41EE-8CF3-667233E80772}" dt="2021-10-27T08:27:44.495" v="31" actId="20577"/>
          <ac:spMkLst>
            <pc:docMk/>
            <pc:sldMk cId="200941906" sldId="419"/>
            <ac:spMk id="19" creationId="{C9D68B27-6022-4C1D-A210-C0037BB4C784}"/>
          </ac:spMkLst>
        </pc:spChg>
      </pc:sldChg>
      <pc:sldChg chg="modSp mod">
        <pc:chgData name="Meyer Raphael (PAR-ES)" userId="79615dfe-ed48-4e74-a40f-4f7b034c1c27" providerId="ADAL" clId="{132FF8F2-48C6-41EE-8CF3-667233E80772}" dt="2021-10-27T08:27:39.280" v="29" actId="20577"/>
        <pc:sldMkLst>
          <pc:docMk/>
          <pc:sldMk cId="3299254992" sldId="420"/>
        </pc:sldMkLst>
        <pc:spChg chg="mod">
          <ac:chgData name="Meyer Raphael (PAR-ES)" userId="79615dfe-ed48-4e74-a40f-4f7b034c1c27" providerId="ADAL" clId="{132FF8F2-48C6-41EE-8CF3-667233E80772}" dt="2021-10-27T08:27:39.280" v="29" actId="20577"/>
          <ac:spMkLst>
            <pc:docMk/>
            <pc:sldMk cId="3299254992" sldId="420"/>
            <ac:spMk id="21" creationId="{4B90160B-6648-45BB-A5C3-EB5B31E56152}"/>
          </ac:spMkLst>
        </pc:spChg>
      </pc:sldChg>
    </pc:docChg>
  </pc:docChgLst>
  <pc:docChgLst>
    <pc:chgData name="Meyer Raphael (PAR-ES)" userId="79615dfe-ed48-4e74-a40f-4f7b034c1c27" providerId="ADAL" clId="{F606B207-8952-4A43-A7BE-98A2DD852393}"/>
    <pc:docChg chg="modSld">
      <pc:chgData name="Meyer Raphael (PAR-ES)" userId="79615dfe-ed48-4e74-a40f-4f7b034c1c27" providerId="ADAL" clId="{F606B207-8952-4A43-A7BE-98A2DD852393}" dt="2021-11-04T13:14:52.704" v="3" actId="14100"/>
      <pc:docMkLst>
        <pc:docMk/>
      </pc:docMkLst>
      <pc:sldChg chg="modSp">
        <pc:chgData name="Meyer Raphael (PAR-ES)" userId="79615dfe-ed48-4e74-a40f-4f7b034c1c27" providerId="ADAL" clId="{F606B207-8952-4A43-A7BE-98A2DD852393}" dt="2021-11-04T13:14:38.157" v="0" actId="14100"/>
        <pc:sldMkLst>
          <pc:docMk/>
          <pc:sldMk cId="3808035539" sldId="270"/>
        </pc:sldMkLst>
        <pc:graphicFrameChg chg="mod">
          <ac:chgData name="Meyer Raphael (PAR-ES)" userId="79615dfe-ed48-4e74-a40f-4f7b034c1c27" providerId="ADAL" clId="{F606B207-8952-4A43-A7BE-98A2DD852393}" dt="2021-11-04T13:14:38.157" v="0" actId="14100"/>
          <ac:graphicFrameMkLst>
            <pc:docMk/>
            <pc:sldMk cId="3808035539" sldId="270"/>
            <ac:graphicFrameMk id="9" creationId="{00000000-0000-0000-0000-000000000000}"/>
          </ac:graphicFrameMkLst>
        </pc:graphicFrameChg>
      </pc:sldChg>
      <pc:sldChg chg="modSp">
        <pc:chgData name="Meyer Raphael (PAR-ES)" userId="79615dfe-ed48-4e74-a40f-4f7b034c1c27" providerId="ADAL" clId="{F606B207-8952-4A43-A7BE-98A2DD852393}" dt="2021-11-04T13:14:43.918" v="1" actId="14100"/>
        <pc:sldMkLst>
          <pc:docMk/>
          <pc:sldMk cId="3677740869" sldId="271"/>
        </pc:sldMkLst>
        <pc:graphicFrameChg chg="mod">
          <ac:chgData name="Meyer Raphael (PAR-ES)" userId="79615dfe-ed48-4e74-a40f-4f7b034c1c27" providerId="ADAL" clId="{F606B207-8952-4A43-A7BE-98A2DD852393}" dt="2021-11-04T13:14:43.918" v="1" actId="14100"/>
          <ac:graphicFrameMkLst>
            <pc:docMk/>
            <pc:sldMk cId="3677740869" sldId="271"/>
            <ac:graphicFrameMk id="9" creationId="{00000000-0000-0000-0000-000000000000}"/>
          </ac:graphicFrameMkLst>
        </pc:graphicFrameChg>
      </pc:sldChg>
      <pc:sldChg chg="modSp">
        <pc:chgData name="Meyer Raphael (PAR-ES)" userId="79615dfe-ed48-4e74-a40f-4f7b034c1c27" providerId="ADAL" clId="{F606B207-8952-4A43-A7BE-98A2DD852393}" dt="2021-11-04T13:14:48.679" v="2" actId="14100"/>
        <pc:sldMkLst>
          <pc:docMk/>
          <pc:sldMk cId="1963209825" sldId="272"/>
        </pc:sldMkLst>
        <pc:graphicFrameChg chg="mod">
          <ac:chgData name="Meyer Raphael (PAR-ES)" userId="79615dfe-ed48-4e74-a40f-4f7b034c1c27" providerId="ADAL" clId="{F606B207-8952-4A43-A7BE-98A2DD852393}" dt="2021-11-04T13:14:48.679" v="2" actId="14100"/>
          <ac:graphicFrameMkLst>
            <pc:docMk/>
            <pc:sldMk cId="1963209825" sldId="272"/>
            <ac:graphicFrameMk id="9" creationId="{00000000-0000-0000-0000-000000000000}"/>
          </ac:graphicFrameMkLst>
        </pc:graphicFrameChg>
      </pc:sldChg>
      <pc:sldChg chg="modSp">
        <pc:chgData name="Meyer Raphael (PAR-ES)" userId="79615dfe-ed48-4e74-a40f-4f7b034c1c27" providerId="ADAL" clId="{F606B207-8952-4A43-A7BE-98A2DD852393}" dt="2021-11-04T13:14:52.704" v="3" actId="14100"/>
        <pc:sldMkLst>
          <pc:docMk/>
          <pc:sldMk cId="1065586608" sldId="273"/>
        </pc:sldMkLst>
        <pc:graphicFrameChg chg="mod">
          <ac:chgData name="Meyer Raphael (PAR-ES)" userId="79615dfe-ed48-4e74-a40f-4f7b034c1c27" providerId="ADAL" clId="{F606B207-8952-4A43-A7BE-98A2DD852393}" dt="2021-11-04T13:14:52.704" v="3" actId="14100"/>
          <ac:graphicFrameMkLst>
            <pc:docMk/>
            <pc:sldMk cId="1065586608" sldId="273"/>
            <ac:graphicFrameMk id="9" creationId="{00000000-0000-0000-0000-000000000000}"/>
          </ac:graphicFrameMkLst>
        </pc:graphicFrameChg>
      </pc:sldChg>
    </pc:docChg>
  </pc:docChgLst>
  <pc:docChgLst>
    <pc:chgData name="Meyer Raphael (PAR-ES)" userId="79615dfe-ed48-4e74-a40f-4f7b034c1c27" providerId="ADAL" clId="{0919502C-317E-4EA9-B6B6-94BE89C311B1}"/>
    <pc:docChg chg="modSld">
      <pc:chgData name="Meyer Raphael (PAR-ES)" userId="79615dfe-ed48-4e74-a40f-4f7b034c1c27" providerId="ADAL" clId="{0919502C-317E-4EA9-B6B6-94BE89C311B1}" dt="2021-10-19T06:54:48.430" v="147" actId="1036"/>
      <pc:docMkLst>
        <pc:docMk/>
      </pc:docMkLst>
      <pc:sldChg chg="modSp mod">
        <pc:chgData name="Meyer Raphael (PAR-ES)" userId="79615dfe-ed48-4e74-a40f-4f7b034c1c27" providerId="ADAL" clId="{0919502C-317E-4EA9-B6B6-94BE89C311B1}" dt="2021-10-19T06:54:48.430" v="147" actId="1036"/>
        <pc:sldMkLst>
          <pc:docMk/>
          <pc:sldMk cId="1537997412" sldId="373"/>
        </pc:sldMkLst>
        <pc:spChg chg="mod">
          <ac:chgData name="Meyer Raphael (PAR-ES)" userId="79615dfe-ed48-4e74-a40f-4f7b034c1c27" providerId="ADAL" clId="{0919502C-317E-4EA9-B6B6-94BE89C311B1}" dt="2021-10-19T06:54:40.279" v="127" actId="1035"/>
          <ac:spMkLst>
            <pc:docMk/>
            <pc:sldMk cId="1537997412" sldId="373"/>
            <ac:spMk id="6" creationId="{8C570F95-0775-4F12-8DDA-DD52CE7241CC}"/>
          </ac:spMkLst>
        </pc:spChg>
        <pc:spChg chg="mod">
          <ac:chgData name="Meyer Raphael (PAR-ES)" userId="79615dfe-ed48-4e74-a40f-4f7b034c1c27" providerId="ADAL" clId="{0919502C-317E-4EA9-B6B6-94BE89C311B1}" dt="2021-10-19T06:54:48.430" v="147" actId="1036"/>
          <ac:spMkLst>
            <pc:docMk/>
            <pc:sldMk cId="1537997412" sldId="373"/>
            <ac:spMk id="16" creationId="{12071265-4F7A-4F0C-9EDF-46D776DCEF56}"/>
          </ac:spMkLst>
        </pc:spChg>
        <pc:spChg chg="mod">
          <ac:chgData name="Meyer Raphael (PAR-ES)" userId="79615dfe-ed48-4e74-a40f-4f7b034c1c27" providerId="ADAL" clId="{0919502C-317E-4EA9-B6B6-94BE89C311B1}" dt="2021-10-19T06:54:48.430" v="147" actId="1036"/>
          <ac:spMkLst>
            <pc:docMk/>
            <pc:sldMk cId="1537997412" sldId="373"/>
            <ac:spMk id="22" creationId="{B3F5B9B8-EDA8-430F-83AA-59E4DAA4DCA3}"/>
          </ac:spMkLst>
        </pc:spChg>
        <pc:spChg chg="mod">
          <ac:chgData name="Meyer Raphael (PAR-ES)" userId="79615dfe-ed48-4e74-a40f-4f7b034c1c27" providerId="ADAL" clId="{0919502C-317E-4EA9-B6B6-94BE89C311B1}" dt="2021-10-19T06:54:35.649" v="126" actId="14100"/>
          <ac:spMkLst>
            <pc:docMk/>
            <pc:sldMk cId="1537997412" sldId="373"/>
            <ac:spMk id="24" creationId="{FD07A55C-6879-4E52-B5A8-38679864E2FC}"/>
          </ac:spMkLst>
        </pc:spChg>
        <pc:cxnChg chg="mod">
          <ac:chgData name="Meyer Raphael (PAR-ES)" userId="79615dfe-ed48-4e74-a40f-4f7b034c1c27" providerId="ADAL" clId="{0919502C-317E-4EA9-B6B6-94BE89C311B1}" dt="2021-10-19T06:54:19.707" v="111" actId="1035"/>
          <ac:cxnSpMkLst>
            <pc:docMk/>
            <pc:sldMk cId="1537997412" sldId="373"/>
            <ac:cxnSpMk id="17" creationId="{ADB86D40-94DA-4EA6-A13C-F322B879613C}"/>
          </ac:cxnSpMkLst>
        </pc:cxnChg>
        <pc:cxnChg chg="mod">
          <ac:chgData name="Meyer Raphael (PAR-ES)" userId="79615dfe-ed48-4e74-a40f-4f7b034c1c27" providerId="ADAL" clId="{0919502C-317E-4EA9-B6B6-94BE89C311B1}" dt="2021-10-19T06:53:41.516" v="47" actId="14100"/>
          <ac:cxnSpMkLst>
            <pc:docMk/>
            <pc:sldMk cId="1537997412" sldId="373"/>
            <ac:cxnSpMk id="18" creationId="{4AD487EB-8B7D-42D2-9F65-FA2AF08A717F}"/>
          </ac:cxnSpMkLst>
        </pc:cxnChg>
        <pc:cxnChg chg="mod">
          <ac:chgData name="Meyer Raphael (PAR-ES)" userId="79615dfe-ed48-4e74-a40f-4f7b034c1c27" providerId="ADAL" clId="{0919502C-317E-4EA9-B6B6-94BE89C311B1}" dt="2021-10-19T06:53:50.952" v="63" actId="14100"/>
          <ac:cxnSpMkLst>
            <pc:docMk/>
            <pc:sldMk cId="1537997412" sldId="373"/>
            <ac:cxnSpMk id="21" creationId="{70B5456D-B5DD-4516-B6A3-B39AEE671B52}"/>
          </ac:cxnSpMkLst>
        </pc:cxnChg>
      </pc:sldChg>
    </pc:docChg>
  </pc:docChgLst>
  <pc:docChgLst>
    <pc:chgData name="Meyer Raphael (PAR-ES)" userId="79615dfe-ed48-4e74-a40f-4f7b034c1c27" providerId="ADAL" clId="{3CA16789-4E73-4C69-8D8B-B43110273F7B}"/>
    <pc:docChg chg="custSel addSld delSld modSld sldOrd">
      <pc:chgData name="Meyer Raphael (PAR-ES)" userId="79615dfe-ed48-4e74-a40f-4f7b034c1c27" providerId="ADAL" clId="{3CA16789-4E73-4C69-8D8B-B43110273F7B}" dt="2021-04-30T07:05:21.764" v="116" actId="2696"/>
      <pc:docMkLst>
        <pc:docMk/>
      </pc:docMkLst>
      <pc:sldChg chg="modSp mod">
        <pc:chgData name="Meyer Raphael (PAR-ES)" userId="79615dfe-ed48-4e74-a40f-4f7b034c1c27" providerId="ADAL" clId="{3CA16789-4E73-4C69-8D8B-B43110273F7B}" dt="2021-04-30T07:01:03.423" v="84" actId="20577"/>
        <pc:sldMkLst>
          <pc:docMk/>
          <pc:sldMk cId="1667945532" sldId="306"/>
        </pc:sldMkLst>
        <pc:spChg chg="mod">
          <ac:chgData name="Meyer Raphael (PAR-ES)" userId="79615dfe-ed48-4e74-a40f-4f7b034c1c27" providerId="ADAL" clId="{3CA16789-4E73-4C69-8D8B-B43110273F7B}" dt="2021-04-30T07:00:13.194" v="66" actId="20577"/>
          <ac:spMkLst>
            <pc:docMk/>
            <pc:sldMk cId="1667945532" sldId="306"/>
            <ac:spMk id="8" creationId="{5857C2A1-2CB8-4D4A-AEFD-E809BF73D04F}"/>
          </ac:spMkLst>
        </pc:spChg>
        <pc:spChg chg="mod">
          <ac:chgData name="Meyer Raphael (PAR-ES)" userId="79615dfe-ed48-4e74-a40f-4f7b034c1c27" providerId="ADAL" clId="{3CA16789-4E73-4C69-8D8B-B43110273F7B}" dt="2021-04-30T07:00:42.219" v="76" actId="20577"/>
          <ac:spMkLst>
            <pc:docMk/>
            <pc:sldMk cId="1667945532" sldId="306"/>
            <ac:spMk id="27" creationId="{46A6B042-39EE-4A58-BBAA-13D52264B660}"/>
          </ac:spMkLst>
        </pc:spChg>
        <pc:spChg chg="mod">
          <ac:chgData name="Meyer Raphael (PAR-ES)" userId="79615dfe-ed48-4e74-a40f-4f7b034c1c27" providerId="ADAL" clId="{3CA16789-4E73-4C69-8D8B-B43110273F7B}" dt="2021-04-30T06:57:12.947" v="54" actId="552"/>
          <ac:spMkLst>
            <pc:docMk/>
            <pc:sldMk cId="1667945532" sldId="306"/>
            <ac:spMk id="28" creationId="{4492A3CD-6943-423D-BFEC-8129889E8B6F}"/>
          </ac:spMkLst>
        </pc:spChg>
        <pc:spChg chg="mod">
          <ac:chgData name="Meyer Raphael (PAR-ES)" userId="79615dfe-ed48-4e74-a40f-4f7b034c1c27" providerId="ADAL" clId="{3CA16789-4E73-4C69-8D8B-B43110273F7B}" dt="2021-04-30T07:01:03.423" v="84" actId="20577"/>
          <ac:spMkLst>
            <pc:docMk/>
            <pc:sldMk cId="1667945532" sldId="306"/>
            <ac:spMk id="31" creationId="{7491A47D-CAD4-478D-8F3A-296FFCB799F9}"/>
          </ac:spMkLst>
        </pc:spChg>
        <pc:spChg chg="mod">
          <ac:chgData name="Meyer Raphael (PAR-ES)" userId="79615dfe-ed48-4e74-a40f-4f7b034c1c27" providerId="ADAL" clId="{3CA16789-4E73-4C69-8D8B-B43110273F7B}" dt="2021-04-30T06:57:18.524" v="58" actId="1038"/>
          <ac:spMkLst>
            <pc:docMk/>
            <pc:sldMk cId="1667945532" sldId="306"/>
            <ac:spMk id="32" creationId="{E65DDA4F-7190-4D5B-B875-6818D18C9F6E}"/>
          </ac:spMkLst>
        </pc:spChg>
        <pc:graphicFrameChg chg="mod">
          <ac:chgData name="Meyer Raphael (PAR-ES)" userId="79615dfe-ed48-4e74-a40f-4f7b034c1c27" providerId="ADAL" clId="{3CA16789-4E73-4C69-8D8B-B43110273F7B}" dt="2021-04-30T06:53:10.971" v="22"/>
          <ac:graphicFrameMkLst>
            <pc:docMk/>
            <pc:sldMk cId="1667945532" sldId="306"/>
            <ac:graphicFrameMk id="5" creationId="{4CF6AB8B-CAB9-4C7E-8E59-E00357A4D7F0}"/>
          </ac:graphicFrameMkLst>
        </pc:graphicFrameChg>
        <pc:cxnChg chg="mod">
          <ac:chgData name="Meyer Raphael (PAR-ES)" userId="79615dfe-ed48-4e74-a40f-4f7b034c1c27" providerId="ADAL" clId="{3CA16789-4E73-4C69-8D8B-B43110273F7B}" dt="2021-04-30T06:57:45.408" v="64" actId="1038"/>
          <ac:cxnSpMkLst>
            <pc:docMk/>
            <pc:sldMk cId="1667945532" sldId="306"/>
            <ac:cxnSpMk id="29" creationId="{FD3E902F-283F-48FC-9504-FF2FF4EA4BF0}"/>
          </ac:cxnSpMkLst>
        </pc:cxnChg>
        <pc:cxnChg chg="mod">
          <ac:chgData name="Meyer Raphael (PAR-ES)" userId="79615dfe-ed48-4e74-a40f-4f7b034c1c27" providerId="ADAL" clId="{3CA16789-4E73-4C69-8D8B-B43110273F7B}" dt="2021-04-30T06:57:40.814" v="62" actId="1037"/>
          <ac:cxnSpMkLst>
            <pc:docMk/>
            <pc:sldMk cId="1667945532" sldId="306"/>
            <ac:cxnSpMk id="30" creationId="{1D702FCA-793F-404B-84D5-F14C318BFFB3}"/>
          </ac:cxnSpMkLst>
        </pc:cxnChg>
      </pc:sldChg>
      <pc:sldChg chg="del">
        <pc:chgData name="Meyer Raphael (PAR-ES)" userId="79615dfe-ed48-4e74-a40f-4f7b034c1c27" providerId="ADAL" clId="{3CA16789-4E73-4C69-8D8B-B43110273F7B}" dt="2021-04-30T07:03:50.644" v="98" actId="2696"/>
        <pc:sldMkLst>
          <pc:docMk/>
          <pc:sldMk cId="3794750395" sldId="348"/>
        </pc:sldMkLst>
      </pc:sldChg>
      <pc:sldChg chg="del">
        <pc:chgData name="Meyer Raphael (PAR-ES)" userId="79615dfe-ed48-4e74-a40f-4f7b034c1c27" providerId="ADAL" clId="{3CA16789-4E73-4C69-8D8B-B43110273F7B}" dt="2021-04-30T07:05:21.764" v="116" actId="2696"/>
        <pc:sldMkLst>
          <pc:docMk/>
          <pc:sldMk cId="1552181785" sldId="349"/>
        </pc:sldMkLst>
      </pc:sldChg>
      <pc:sldChg chg="addSp delSp modSp add mod ord">
        <pc:chgData name="Meyer Raphael (PAR-ES)" userId="79615dfe-ed48-4e74-a40f-4f7b034c1c27" providerId="ADAL" clId="{3CA16789-4E73-4C69-8D8B-B43110273F7B}" dt="2021-04-30T07:05:12.430" v="115" actId="14100"/>
        <pc:sldMkLst>
          <pc:docMk/>
          <pc:sldMk cId="3739047188" sldId="350"/>
        </pc:sldMkLst>
        <pc:spChg chg="mod">
          <ac:chgData name="Meyer Raphael (PAR-ES)" userId="79615dfe-ed48-4e74-a40f-4f7b034c1c27" providerId="ADAL" clId="{3CA16789-4E73-4C69-8D8B-B43110273F7B}" dt="2021-04-30T07:04:20.861" v="101"/>
          <ac:spMkLst>
            <pc:docMk/>
            <pc:sldMk cId="3739047188" sldId="350"/>
            <ac:spMk id="2" creationId="{A2DC317F-F1F4-4624-8FC1-3B68C1DBB3DA}"/>
          </ac:spMkLst>
        </pc:spChg>
        <pc:spChg chg="del">
          <ac:chgData name="Meyer Raphael (PAR-ES)" userId="79615dfe-ed48-4e74-a40f-4f7b034c1c27" providerId="ADAL" clId="{3CA16789-4E73-4C69-8D8B-B43110273F7B}" dt="2021-04-30T07:04:02.611" v="99" actId="478"/>
          <ac:spMkLst>
            <pc:docMk/>
            <pc:sldMk cId="3739047188" sldId="350"/>
            <ac:spMk id="7" creationId="{BA3F9A72-0541-4D1F-8CD8-1C2B8074FA1B}"/>
          </ac:spMkLst>
        </pc:spChg>
        <pc:spChg chg="mod">
          <ac:chgData name="Meyer Raphael (PAR-ES)" userId="79615dfe-ed48-4e74-a40f-4f7b034c1c27" providerId="ADAL" clId="{3CA16789-4E73-4C69-8D8B-B43110273F7B}" dt="2021-04-30T07:04:50.162" v="113" actId="1038"/>
          <ac:spMkLst>
            <pc:docMk/>
            <pc:sldMk cId="3739047188" sldId="350"/>
            <ac:spMk id="8" creationId="{5857C2A1-2CB8-4D4A-AEFD-E809BF73D04F}"/>
          </ac:spMkLst>
        </pc:spChg>
        <pc:spChg chg="del">
          <ac:chgData name="Meyer Raphael (PAR-ES)" userId="79615dfe-ed48-4e74-a40f-4f7b034c1c27" providerId="ADAL" clId="{3CA16789-4E73-4C69-8D8B-B43110273F7B}" dt="2021-04-30T07:04:02.611" v="99" actId="478"/>
          <ac:spMkLst>
            <pc:docMk/>
            <pc:sldMk cId="3739047188" sldId="350"/>
            <ac:spMk id="9" creationId="{B6990B61-32B2-4ADC-BF01-EDF7B4080F97}"/>
          </ac:spMkLst>
        </pc:spChg>
        <pc:spChg chg="mod">
          <ac:chgData name="Meyer Raphael (PAR-ES)" userId="79615dfe-ed48-4e74-a40f-4f7b034c1c27" providerId="ADAL" clId="{3CA16789-4E73-4C69-8D8B-B43110273F7B}" dt="2021-04-30T07:04:30.395" v="102"/>
          <ac:spMkLst>
            <pc:docMk/>
            <pc:sldMk cId="3739047188" sldId="350"/>
            <ac:spMk id="10" creationId="{077DFD58-E5EE-4B68-9325-D935DB04DD40}"/>
          </ac:spMkLst>
        </pc:spChg>
        <pc:spChg chg="del">
          <ac:chgData name="Meyer Raphael (PAR-ES)" userId="79615dfe-ed48-4e74-a40f-4f7b034c1c27" providerId="ADAL" clId="{3CA16789-4E73-4C69-8D8B-B43110273F7B}" dt="2021-04-30T07:04:02.611" v="99" actId="478"/>
          <ac:spMkLst>
            <pc:docMk/>
            <pc:sldMk cId="3739047188" sldId="350"/>
            <ac:spMk id="17" creationId="{785E740C-F94A-4208-8DFD-63A603C16577}"/>
          </ac:spMkLst>
        </pc:spChg>
        <pc:spChg chg="add mod">
          <ac:chgData name="Meyer Raphael (PAR-ES)" userId="79615dfe-ed48-4e74-a40f-4f7b034c1c27" providerId="ADAL" clId="{3CA16789-4E73-4C69-8D8B-B43110273F7B}" dt="2021-04-30T07:04:11.398" v="100"/>
          <ac:spMkLst>
            <pc:docMk/>
            <pc:sldMk cId="3739047188" sldId="350"/>
            <ac:spMk id="21" creationId="{A289C2CD-2234-403C-AC36-580AAE5317D6}"/>
          </ac:spMkLst>
        </pc:spChg>
        <pc:spChg chg="add mod">
          <ac:chgData name="Meyer Raphael (PAR-ES)" userId="79615dfe-ed48-4e74-a40f-4f7b034c1c27" providerId="ADAL" clId="{3CA16789-4E73-4C69-8D8B-B43110273F7B}" dt="2021-04-30T07:04:11.398" v="100"/>
          <ac:spMkLst>
            <pc:docMk/>
            <pc:sldMk cId="3739047188" sldId="350"/>
            <ac:spMk id="22" creationId="{0EB13722-3B63-4D88-8F3C-A1D02E358C5E}"/>
          </ac:spMkLst>
        </pc:spChg>
        <pc:spChg chg="add mod">
          <ac:chgData name="Meyer Raphael (PAR-ES)" userId="79615dfe-ed48-4e74-a40f-4f7b034c1c27" providerId="ADAL" clId="{3CA16789-4E73-4C69-8D8B-B43110273F7B}" dt="2021-04-30T07:04:11.398" v="100"/>
          <ac:spMkLst>
            <pc:docMk/>
            <pc:sldMk cId="3739047188" sldId="350"/>
            <ac:spMk id="23" creationId="{5FCAB9CA-9ABE-4D50-9CCE-DCB432301411}"/>
          </ac:spMkLst>
        </pc:spChg>
        <pc:spChg chg="add mod">
          <ac:chgData name="Meyer Raphael (PAR-ES)" userId="79615dfe-ed48-4e74-a40f-4f7b034c1c27" providerId="ADAL" clId="{3CA16789-4E73-4C69-8D8B-B43110273F7B}" dt="2021-04-30T07:04:11.398" v="100"/>
          <ac:spMkLst>
            <pc:docMk/>
            <pc:sldMk cId="3739047188" sldId="350"/>
            <ac:spMk id="25" creationId="{8F289E0B-A5A0-455A-A515-82ADB366B345}"/>
          </ac:spMkLst>
        </pc:spChg>
        <pc:spChg chg="del">
          <ac:chgData name="Meyer Raphael (PAR-ES)" userId="79615dfe-ed48-4e74-a40f-4f7b034c1c27" providerId="ADAL" clId="{3CA16789-4E73-4C69-8D8B-B43110273F7B}" dt="2021-04-30T07:04:02.611" v="99" actId="478"/>
          <ac:spMkLst>
            <pc:docMk/>
            <pc:sldMk cId="3739047188" sldId="350"/>
            <ac:spMk id="26" creationId="{BFD498B5-D73E-4C8A-9FAF-B3547647538C}"/>
          </ac:spMkLst>
        </pc:spChg>
        <pc:spChg chg="mod">
          <ac:chgData name="Meyer Raphael (PAR-ES)" userId="79615dfe-ed48-4e74-a40f-4f7b034c1c27" providerId="ADAL" clId="{3CA16789-4E73-4C69-8D8B-B43110273F7B}" dt="2021-04-30T07:05:12.430" v="115" actId="14100"/>
          <ac:spMkLst>
            <pc:docMk/>
            <pc:sldMk cId="3739047188" sldId="350"/>
            <ac:spMk id="27" creationId="{46A6B042-39EE-4A58-BBAA-13D52264B660}"/>
          </ac:spMkLst>
        </pc:spChg>
      </pc:sldChg>
      <pc:sldChg chg="addSp delSp modSp add mod ord">
        <pc:chgData name="Meyer Raphael (PAR-ES)" userId="79615dfe-ed48-4e74-a40f-4f7b034c1c27" providerId="ADAL" clId="{3CA16789-4E73-4C69-8D8B-B43110273F7B}" dt="2021-04-30T07:03:36.020" v="97"/>
        <pc:sldMkLst>
          <pc:docMk/>
          <pc:sldMk cId="2393230848" sldId="351"/>
        </pc:sldMkLst>
        <pc:spChg chg="mod">
          <ac:chgData name="Meyer Raphael (PAR-ES)" userId="79615dfe-ed48-4e74-a40f-4f7b034c1c27" providerId="ADAL" clId="{3CA16789-4E73-4C69-8D8B-B43110273F7B}" dt="2021-04-30T07:02:55.353" v="93"/>
          <ac:spMkLst>
            <pc:docMk/>
            <pc:sldMk cId="2393230848" sldId="351"/>
            <ac:spMk id="2" creationId="{A2DC317F-F1F4-4624-8FC1-3B68C1DBB3DA}"/>
          </ac:spMkLst>
        </pc:spChg>
        <pc:spChg chg="del">
          <ac:chgData name="Meyer Raphael (PAR-ES)" userId="79615dfe-ed48-4e74-a40f-4f7b034c1c27" providerId="ADAL" clId="{3CA16789-4E73-4C69-8D8B-B43110273F7B}" dt="2021-04-30T07:02:36.390" v="91" actId="478"/>
          <ac:spMkLst>
            <pc:docMk/>
            <pc:sldMk cId="2393230848" sldId="351"/>
            <ac:spMk id="7" creationId="{BA3F9A72-0541-4D1F-8CD8-1C2B8074FA1B}"/>
          </ac:spMkLst>
        </pc:spChg>
        <pc:spChg chg="mod">
          <ac:chgData name="Meyer Raphael (PAR-ES)" userId="79615dfe-ed48-4e74-a40f-4f7b034c1c27" providerId="ADAL" clId="{3CA16789-4E73-4C69-8D8B-B43110273F7B}" dt="2021-04-30T07:03:20.221" v="96" actId="14100"/>
          <ac:spMkLst>
            <pc:docMk/>
            <pc:sldMk cId="2393230848" sldId="351"/>
            <ac:spMk id="8" creationId="{5857C2A1-2CB8-4D4A-AEFD-E809BF73D04F}"/>
          </ac:spMkLst>
        </pc:spChg>
        <pc:spChg chg="del">
          <ac:chgData name="Meyer Raphael (PAR-ES)" userId="79615dfe-ed48-4e74-a40f-4f7b034c1c27" providerId="ADAL" clId="{3CA16789-4E73-4C69-8D8B-B43110273F7B}" dt="2021-04-30T07:02:36.390" v="91" actId="478"/>
          <ac:spMkLst>
            <pc:docMk/>
            <pc:sldMk cId="2393230848" sldId="351"/>
            <ac:spMk id="9" creationId="{B6990B61-32B2-4ADC-BF01-EDF7B4080F97}"/>
          </ac:spMkLst>
        </pc:spChg>
        <pc:spChg chg="mod">
          <ac:chgData name="Meyer Raphael (PAR-ES)" userId="79615dfe-ed48-4e74-a40f-4f7b034c1c27" providerId="ADAL" clId="{3CA16789-4E73-4C69-8D8B-B43110273F7B}" dt="2021-04-30T07:03:06.994" v="94"/>
          <ac:spMkLst>
            <pc:docMk/>
            <pc:sldMk cId="2393230848" sldId="351"/>
            <ac:spMk id="10" creationId="{077DFD58-E5EE-4B68-9325-D935DB04DD40}"/>
          </ac:spMkLst>
        </pc:spChg>
        <pc:spChg chg="del">
          <ac:chgData name="Meyer Raphael (PAR-ES)" userId="79615dfe-ed48-4e74-a40f-4f7b034c1c27" providerId="ADAL" clId="{3CA16789-4E73-4C69-8D8B-B43110273F7B}" dt="2021-04-30T07:02:36.390" v="91" actId="478"/>
          <ac:spMkLst>
            <pc:docMk/>
            <pc:sldMk cId="2393230848" sldId="351"/>
            <ac:spMk id="17" creationId="{785E740C-F94A-4208-8DFD-63A603C16577}"/>
          </ac:spMkLst>
        </pc:spChg>
        <pc:spChg chg="add mod">
          <ac:chgData name="Meyer Raphael (PAR-ES)" userId="79615dfe-ed48-4e74-a40f-4f7b034c1c27" providerId="ADAL" clId="{3CA16789-4E73-4C69-8D8B-B43110273F7B}" dt="2021-04-30T07:02:46.271" v="92"/>
          <ac:spMkLst>
            <pc:docMk/>
            <pc:sldMk cId="2393230848" sldId="351"/>
            <ac:spMk id="21" creationId="{8846911B-74B7-4F54-BE37-34D072ACCE8C}"/>
          </ac:spMkLst>
        </pc:spChg>
        <pc:spChg chg="add mod">
          <ac:chgData name="Meyer Raphael (PAR-ES)" userId="79615dfe-ed48-4e74-a40f-4f7b034c1c27" providerId="ADAL" clId="{3CA16789-4E73-4C69-8D8B-B43110273F7B}" dt="2021-04-30T07:02:46.271" v="92"/>
          <ac:spMkLst>
            <pc:docMk/>
            <pc:sldMk cId="2393230848" sldId="351"/>
            <ac:spMk id="22" creationId="{F7CB452A-4958-4C8E-B85E-895E530EB7D2}"/>
          </ac:spMkLst>
        </pc:spChg>
        <pc:spChg chg="add mod">
          <ac:chgData name="Meyer Raphael (PAR-ES)" userId="79615dfe-ed48-4e74-a40f-4f7b034c1c27" providerId="ADAL" clId="{3CA16789-4E73-4C69-8D8B-B43110273F7B}" dt="2021-04-30T07:02:46.271" v="92"/>
          <ac:spMkLst>
            <pc:docMk/>
            <pc:sldMk cId="2393230848" sldId="351"/>
            <ac:spMk id="23" creationId="{3BCBF218-6934-4E2E-8A39-3EAF804953BB}"/>
          </ac:spMkLst>
        </pc:spChg>
        <pc:spChg chg="add mod">
          <ac:chgData name="Meyer Raphael (PAR-ES)" userId="79615dfe-ed48-4e74-a40f-4f7b034c1c27" providerId="ADAL" clId="{3CA16789-4E73-4C69-8D8B-B43110273F7B}" dt="2021-04-30T07:02:46.271" v="92"/>
          <ac:spMkLst>
            <pc:docMk/>
            <pc:sldMk cId="2393230848" sldId="351"/>
            <ac:spMk id="25" creationId="{AB971104-6819-40A6-BE14-D19A3A65CAEC}"/>
          </ac:spMkLst>
        </pc:spChg>
        <pc:spChg chg="del">
          <ac:chgData name="Meyer Raphael (PAR-ES)" userId="79615dfe-ed48-4e74-a40f-4f7b034c1c27" providerId="ADAL" clId="{3CA16789-4E73-4C69-8D8B-B43110273F7B}" dt="2021-04-30T07:02:36.390" v="91" actId="478"/>
          <ac:spMkLst>
            <pc:docMk/>
            <pc:sldMk cId="2393230848" sldId="351"/>
            <ac:spMk id="26" creationId="{BFD498B5-D73E-4C8A-9FAF-B3547647538C}"/>
          </ac:spMkLst>
        </pc:spChg>
        <pc:spChg chg="mod">
          <ac:chgData name="Meyer Raphael (PAR-ES)" userId="79615dfe-ed48-4e74-a40f-4f7b034c1c27" providerId="ADAL" clId="{3CA16789-4E73-4C69-8D8B-B43110273F7B}" dt="2021-04-30T07:03:36.020" v="97"/>
          <ac:spMkLst>
            <pc:docMk/>
            <pc:sldMk cId="2393230848" sldId="351"/>
            <ac:spMk id="27" creationId="{46A6B042-39EE-4A58-BBAA-13D52264B660}"/>
          </ac:spMkLst>
        </pc:spChg>
      </pc:sldChg>
    </pc:docChg>
  </pc:docChgLst>
  <pc:docChgLst>
    <pc:chgData name="Meyer Raphael (PAR-ES)" userId="79615dfe-ed48-4e74-a40f-4f7b034c1c27" providerId="ADAL" clId="{10AE677C-AF67-4DA2-9E03-31B1C985E72B}"/>
    <pc:docChg chg="modSld">
      <pc:chgData name="Meyer Raphael (PAR-ES)" userId="79615dfe-ed48-4e74-a40f-4f7b034c1c27" providerId="ADAL" clId="{10AE677C-AF67-4DA2-9E03-31B1C985E72B}" dt="2022-03-09T16:39:38.324" v="47" actId="1037"/>
      <pc:docMkLst>
        <pc:docMk/>
      </pc:docMkLst>
      <pc:sldChg chg="modSp mod">
        <pc:chgData name="Meyer Raphael (PAR-ES)" userId="79615dfe-ed48-4e74-a40f-4f7b034c1c27" providerId="ADAL" clId="{10AE677C-AF67-4DA2-9E03-31B1C985E72B}" dt="2022-03-09T16:39:38.324" v="47" actId="1037"/>
        <pc:sldMkLst>
          <pc:docMk/>
          <pc:sldMk cId="976233813" sldId="417"/>
        </pc:sldMkLst>
        <pc:spChg chg="mod">
          <ac:chgData name="Meyer Raphael (PAR-ES)" userId="79615dfe-ed48-4e74-a40f-4f7b034c1c27" providerId="ADAL" clId="{10AE677C-AF67-4DA2-9E03-31B1C985E72B}" dt="2022-03-09T16:39:38.324" v="47" actId="1037"/>
          <ac:spMkLst>
            <pc:docMk/>
            <pc:sldMk cId="976233813" sldId="417"/>
            <ac:spMk id="11" creationId="{45495507-A500-4876-A7D7-039B7559AD0C}"/>
          </ac:spMkLst>
        </pc:spChg>
      </pc:sldChg>
    </pc:docChg>
  </pc:docChgLst>
  <pc:docChgLst>
    <pc:chgData name="Meyer Raphael (PAR-ES)" userId="79615dfe-ed48-4e74-a40f-4f7b034c1c27" providerId="ADAL" clId="{61D52C4E-E5E4-42FA-AB6D-366494A96EE2}"/>
    <pc:docChg chg="undo custSel modSld">
      <pc:chgData name="Meyer Raphael (PAR-ES)" userId="79615dfe-ed48-4e74-a40f-4f7b034c1c27" providerId="ADAL" clId="{61D52C4E-E5E4-42FA-AB6D-366494A96EE2}" dt="2021-11-04T10:05:55.117" v="23" actId="207"/>
      <pc:docMkLst>
        <pc:docMk/>
      </pc:docMkLst>
      <pc:sldChg chg="addSp delSp modSp mod">
        <pc:chgData name="Meyer Raphael (PAR-ES)" userId="79615dfe-ed48-4e74-a40f-4f7b034c1c27" providerId="ADAL" clId="{61D52C4E-E5E4-42FA-AB6D-366494A96EE2}" dt="2021-11-04T10:05:55.117" v="23" actId="207"/>
        <pc:sldMkLst>
          <pc:docMk/>
          <pc:sldMk cId="3808035539" sldId="270"/>
        </pc:sldMkLst>
        <pc:spChg chg="add mod">
          <ac:chgData name="Meyer Raphael (PAR-ES)" userId="79615dfe-ed48-4e74-a40f-4f7b034c1c27" providerId="ADAL" clId="{61D52C4E-E5E4-42FA-AB6D-366494A96EE2}" dt="2021-11-04T10:05:35.260" v="22" actId="207"/>
          <ac:spMkLst>
            <pc:docMk/>
            <pc:sldMk cId="3808035539" sldId="270"/>
            <ac:spMk id="7" creationId="{CE60A944-7104-442D-B06A-85C8256131F7}"/>
          </ac:spMkLst>
        </pc:spChg>
        <pc:spChg chg="add del mod">
          <ac:chgData name="Meyer Raphael (PAR-ES)" userId="79615dfe-ed48-4e74-a40f-4f7b034c1c27" providerId="ADAL" clId="{61D52C4E-E5E4-42FA-AB6D-366494A96EE2}" dt="2021-11-04T10:04:13.696" v="21" actId="478"/>
          <ac:spMkLst>
            <pc:docMk/>
            <pc:sldMk cId="3808035539" sldId="270"/>
            <ac:spMk id="8" creationId="{BE32E368-8678-40CA-B225-215870648184}"/>
          </ac:spMkLst>
        </pc:spChg>
        <pc:spChg chg="mod">
          <ac:chgData name="Meyer Raphael (PAR-ES)" userId="79615dfe-ed48-4e74-a40f-4f7b034c1c27" providerId="ADAL" clId="{61D52C4E-E5E4-42FA-AB6D-366494A96EE2}" dt="2021-11-04T10:05:55.117" v="23" actId="207"/>
          <ac:spMkLst>
            <pc:docMk/>
            <pc:sldMk cId="3808035539" sldId="270"/>
            <ac:spMk id="10" creationId="{41B9B9AB-4B12-4760-AF37-4FABDDFAE68B}"/>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915228494009"/>
          <c:y val="0.20194547626540688"/>
          <c:w val="0.79430876353508262"/>
          <c:h val="0.54899326530717274"/>
        </c:manualLayout>
      </c:layout>
      <c:barChart>
        <c:barDir val="col"/>
        <c:grouping val="stacked"/>
        <c:varyColors val="0"/>
        <c:ser>
          <c:idx val="0"/>
          <c:order val="0"/>
          <c:tx>
            <c:strRef>
              <c:f>data!$C$8</c:f>
              <c:strCache>
                <c:ptCount val="1"/>
                <c:pt idx="0">
                  <c:v>desservis par du personnel CFF</c:v>
                </c:pt>
              </c:strCache>
            </c:strRef>
          </c:tx>
          <c:spPr>
            <a:solidFill>
              <a:srgbClr val="BDBDBD"/>
            </a:solidFill>
          </c:spPr>
          <c:invertIfNegative val="0"/>
          <c:dPt>
            <c:idx val="8"/>
            <c:invertIfNegative val="0"/>
            <c:bubble3D val="0"/>
            <c:spPr>
              <a:solidFill>
                <a:srgbClr val="BDBDBD"/>
              </a:solidFill>
            </c:spPr>
            <c:extLst>
              <c:ext xmlns:c16="http://schemas.microsoft.com/office/drawing/2014/chart" uri="{C3380CC4-5D6E-409C-BE32-E72D297353CC}">
                <c16:uniqueId val="{00000001-B853-422A-9B9D-A6EAA6FFB23D}"/>
              </c:ext>
            </c:extLst>
          </c:dPt>
          <c:cat>
            <c:numRef>
              <c:f>data!$B$9:$B$18</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data!$C$9:$C$18</c:f>
              <c:numCache>
                <c:formatCode>#,##0</c:formatCode>
                <c:ptCount val="10"/>
                <c:pt idx="0">
                  <c:v>179</c:v>
                </c:pt>
                <c:pt idx="1">
                  <c:v>176</c:v>
                </c:pt>
                <c:pt idx="2">
                  <c:v>170</c:v>
                </c:pt>
                <c:pt idx="3">
                  <c:v>166</c:v>
                </c:pt>
                <c:pt idx="4">
                  <c:v>156</c:v>
                </c:pt>
                <c:pt idx="5">
                  <c:v>145</c:v>
                </c:pt>
                <c:pt idx="6">
                  <c:v>144</c:v>
                </c:pt>
                <c:pt idx="7">
                  <c:v>143</c:v>
                </c:pt>
                <c:pt idx="8">
                  <c:v>130</c:v>
                </c:pt>
                <c:pt idx="9">
                  <c:v>121</c:v>
                </c:pt>
              </c:numCache>
            </c:numRef>
          </c:val>
          <c:extLst>
            <c:ext xmlns:c16="http://schemas.microsoft.com/office/drawing/2014/chart" uri="{C3380CC4-5D6E-409C-BE32-E72D297353CC}">
              <c16:uniqueId val="{00000002-B853-422A-9B9D-A6EAA6FFB23D}"/>
            </c:ext>
          </c:extLst>
        </c:ser>
        <c:ser>
          <c:idx val="2"/>
          <c:order val="1"/>
          <c:tx>
            <c:strRef>
              <c:f>data!$E$8</c:f>
              <c:strCache>
                <c:ptCount val="1"/>
                <c:pt idx="0">
                  <c:v>en libre-service</c:v>
                </c:pt>
              </c:strCache>
            </c:strRef>
          </c:tx>
          <c:spPr>
            <a:solidFill>
              <a:srgbClr val="A8A8A8"/>
            </a:solidFill>
          </c:spPr>
          <c:invertIfNegative val="0"/>
          <c:cat>
            <c:numRef>
              <c:f>data!$B$9:$B$18</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data!$E$9:$E$18</c:f>
              <c:numCache>
                <c:formatCode>#,##0</c:formatCode>
                <c:ptCount val="10"/>
                <c:pt idx="0">
                  <c:v>482</c:v>
                </c:pt>
                <c:pt idx="1">
                  <c:v>491</c:v>
                </c:pt>
                <c:pt idx="2">
                  <c:v>501</c:v>
                </c:pt>
                <c:pt idx="3">
                  <c:v>505</c:v>
                </c:pt>
                <c:pt idx="4">
                  <c:v>515</c:v>
                </c:pt>
                <c:pt idx="5">
                  <c:v>530</c:v>
                </c:pt>
                <c:pt idx="6">
                  <c:v>548</c:v>
                </c:pt>
                <c:pt idx="7">
                  <c:v>576</c:v>
                </c:pt>
                <c:pt idx="8">
                  <c:v>588</c:v>
                </c:pt>
                <c:pt idx="9">
                  <c:v>595</c:v>
                </c:pt>
              </c:numCache>
            </c:numRef>
          </c:val>
          <c:extLst>
            <c:ext xmlns:c16="http://schemas.microsoft.com/office/drawing/2014/chart" uri="{C3380CC4-5D6E-409C-BE32-E72D297353CC}">
              <c16:uniqueId val="{00000004-B853-422A-9B9D-A6EAA6FFB23D}"/>
            </c:ext>
          </c:extLst>
        </c:ser>
        <c:ser>
          <c:idx val="1"/>
          <c:order val="2"/>
          <c:tx>
            <c:strRef>
              <c:f>data!$D$8</c:f>
              <c:strCache>
                <c:ptCount val="1"/>
                <c:pt idx="0">
                  <c:v>desservis par des agences</c:v>
                </c:pt>
              </c:strCache>
            </c:strRef>
          </c:tx>
          <c:spPr>
            <a:solidFill>
              <a:srgbClr val="8D8D8D"/>
            </a:solidFill>
          </c:spPr>
          <c:invertIfNegative val="0"/>
          <c:cat>
            <c:numRef>
              <c:f>data!$B$9:$B$18</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data!$D$9:$D$18</c:f>
              <c:numCache>
                <c:formatCode>#,##0</c:formatCode>
                <c:ptCount val="10"/>
                <c:pt idx="0">
                  <c:v>57</c:v>
                </c:pt>
                <c:pt idx="1">
                  <c:v>53</c:v>
                </c:pt>
                <c:pt idx="2">
                  <c:v>50</c:v>
                </c:pt>
                <c:pt idx="3">
                  <c:v>49</c:v>
                </c:pt>
                <c:pt idx="4">
                  <c:v>48</c:v>
                </c:pt>
                <c:pt idx="5">
                  <c:v>46</c:v>
                </c:pt>
                <c:pt idx="6">
                  <c:v>27</c:v>
                </c:pt>
                <c:pt idx="7">
                  <c:v>0</c:v>
                </c:pt>
                <c:pt idx="8">
                  <c:v>0</c:v>
                </c:pt>
                <c:pt idx="9">
                  <c:v>0</c:v>
                </c:pt>
              </c:numCache>
            </c:numRef>
          </c:val>
          <c:extLst>
            <c:ext xmlns:c16="http://schemas.microsoft.com/office/drawing/2014/chart" uri="{C3380CC4-5D6E-409C-BE32-E72D297353CC}">
              <c16:uniqueId val="{00000003-B853-422A-9B9D-A6EAA6FFB23D}"/>
            </c:ext>
          </c:extLst>
        </c:ser>
        <c:dLbls>
          <c:showLegendKey val="0"/>
          <c:showVal val="0"/>
          <c:showCatName val="0"/>
          <c:showSerName val="0"/>
          <c:showPercent val="0"/>
          <c:showBubbleSize val="0"/>
        </c:dLbls>
        <c:gapWidth val="150"/>
        <c:overlap val="100"/>
        <c:axId val="96041216"/>
        <c:axId val="96043008"/>
      </c:barChart>
      <c:catAx>
        <c:axId val="96041216"/>
        <c:scaling>
          <c:orientation val="minMax"/>
        </c:scaling>
        <c:delete val="0"/>
        <c:axPos val="b"/>
        <c:numFmt formatCode="General" sourceLinked="1"/>
        <c:majorTickMark val="none"/>
        <c:minorTickMark val="none"/>
        <c:tickLblPos val="nextTo"/>
        <c:spPr>
          <a:ln w="9525">
            <a:solidFill>
              <a:srgbClr val="5A5A5A"/>
            </a:solidFill>
          </a:ln>
        </c:spPr>
        <c:txPr>
          <a:bodyPr rot="0" vert="horz"/>
          <a:lstStyle/>
          <a:p>
            <a:pPr>
              <a:defRPr sz="900"/>
            </a:pPr>
            <a:endParaRPr lang="de-DE"/>
          </a:p>
        </c:txPr>
        <c:crossAx val="96043008"/>
        <c:crosses val="autoZero"/>
        <c:auto val="1"/>
        <c:lblAlgn val="ctr"/>
        <c:lblOffset val="100"/>
        <c:noMultiLvlLbl val="0"/>
      </c:catAx>
      <c:valAx>
        <c:axId val="96043008"/>
        <c:scaling>
          <c:orientation val="minMax"/>
          <c:max val="800"/>
          <c:min val="0"/>
        </c:scaling>
        <c:delete val="0"/>
        <c:axPos val="l"/>
        <c:majorGridlines>
          <c:spPr>
            <a:ln>
              <a:solidFill>
                <a:schemeClr val="bg1">
                  <a:lumMod val="85000"/>
                </a:schemeClr>
              </a:solidFill>
            </a:ln>
          </c:spPr>
        </c:majorGridlines>
        <c:numFmt formatCode="#\ ##0" sourceLinked="0"/>
        <c:majorTickMark val="out"/>
        <c:minorTickMark val="none"/>
        <c:tickLblPos val="nextTo"/>
        <c:spPr>
          <a:ln>
            <a:noFill/>
          </a:ln>
        </c:spPr>
        <c:txPr>
          <a:bodyPr/>
          <a:lstStyle/>
          <a:p>
            <a:pPr>
              <a:defRPr sz="900"/>
            </a:pPr>
            <a:endParaRPr lang="de-DE"/>
          </a:p>
        </c:txPr>
        <c:crossAx val="96041216"/>
        <c:crosses val="autoZero"/>
        <c:crossBetween val="between"/>
        <c:majorUnit val="200"/>
      </c:valAx>
    </c:plotArea>
    <c:legend>
      <c:legendPos val="b"/>
      <c:layout>
        <c:manualLayout>
          <c:xMode val="edge"/>
          <c:yMode val="edge"/>
          <c:x val="9.9934738459542094E-2"/>
          <c:y val="0.81846637485729923"/>
          <c:w val="0.65752549246951542"/>
          <c:h val="4.5279788943638502E-2"/>
        </c:manualLayout>
      </c:layout>
      <c:overlay val="0"/>
      <c:txPr>
        <a:bodyPr/>
        <a:lstStyle/>
        <a:p>
          <a:pPr>
            <a:defRPr sz="900"/>
          </a:pPr>
          <a:endParaRPr lang="de-DE"/>
        </a:p>
      </c:txPr>
    </c:legend>
    <c:plotVisOnly val="1"/>
    <c:dispBlanksAs val="gap"/>
    <c:showDLblsOverMax val="0"/>
  </c:chart>
  <c:txPr>
    <a:bodyPr/>
    <a:lstStyle/>
    <a:p>
      <a:pPr>
        <a:defRPr sz="1800"/>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9501</cdr:x>
      <cdr:y>0.12016</cdr:y>
    </cdr:from>
    <cdr:to>
      <cdr:x>0.16678</cdr:x>
      <cdr:y>0.16041</cdr:y>
    </cdr:to>
    <cdr:sp macro="" textlink="">
      <cdr:nvSpPr>
        <cdr:cNvPr id="2" name="Textfeld 1"/>
        <cdr:cNvSpPr txBox="1"/>
      </cdr:nvSpPr>
      <cdr:spPr>
        <a:xfrm xmlns:a="http://schemas.openxmlformats.org/drawingml/2006/main">
          <a:off x="1051413" y="630349"/>
          <a:ext cx="794260" cy="211203"/>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r>
            <a:rPr lang="de-CH" sz="900" dirty="0" err="1"/>
            <a:t>Nombre</a:t>
          </a:r>
          <a:endParaRPr lang="de-CH" sz="900" dirty="0">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975E2-D668-4E51-9A3C-34EDD7C4EB22}" type="datetimeFigureOut">
              <a:rPr lang="de-CH" smtClean="0"/>
              <a:t>02.02.2024</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ECC79-EE51-48EB-A65E-A2A214B69F64}" type="slidenum">
              <a:rPr lang="de-CH" smtClean="0"/>
              <a:t>‹Nr.›</a:t>
            </a:fld>
            <a:endParaRPr lang="de-CH"/>
          </a:p>
        </p:txBody>
      </p:sp>
    </p:spTree>
    <p:extLst>
      <p:ext uri="{BB962C8B-B14F-4D97-AF65-F5344CB8AC3E}">
        <p14:creationId xmlns:p14="http://schemas.microsoft.com/office/powerpoint/2010/main" val="241543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Calibri" panose="020F0502020204030204"/>
                <a:ea typeface="+mn-ea"/>
                <a:cs typeface="+mn-cs"/>
              </a:rPr>
              <a:t>SBB • Division • Abteilung oder Bereich • DD.MM.Y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26404-58E8-4486-905C-9BBBD7B83F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932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p:spPr>
        <p:txBody>
          <a:bodyPr wrap="square"/>
          <a:lstStyle>
            <a:lvl1pPr>
              <a:defRPr sz="4000"/>
            </a:lvl1pPr>
          </a:lstStyle>
          <a:p>
            <a:r>
              <a:rPr lang="de-DE"/>
              <a:t>Dies ist der Titel der Präsentation.</a:t>
            </a:r>
            <a:endParaRPr lang="de-CH"/>
          </a:p>
        </p:txBody>
      </p:sp>
      <p:sp>
        <p:nvSpPr>
          <p:cNvPr id="6" name="Textplatzhalter 5"/>
          <p:cNvSpPr>
            <a:spLocks noGrp="1"/>
          </p:cNvSpPr>
          <p:nvPr>
            <p:ph type="body" sz="quarter" idx="12" hasCustomPrompt="1"/>
          </p:nvPr>
        </p:nvSpPr>
        <p:spPr>
          <a:xfrm>
            <a:off x="724799" y="5521949"/>
            <a:ext cx="11033404" cy="326400"/>
          </a:xfrm>
        </p:spPr>
        <p:txBody>
          <a:bodyPr/>
          <a:lstStyle>
            <a:lvl1pPr marL="0" indent="0">
              <a:buNone/>
              <a:defRPr sz="2133" baseline="0"/>
            </a:lvl1pPr>
          </a:lstStyle>
          <a:p>
            <a:pPr lvl="0"/>
            <a:r>
              <a:rPr lang="de-DE"/>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0" name="Logo_SBB_Standard_H">
            <a:extLst>
              <a:ext uri="{FF2B5EF4-FFF2-40B4-BE49-F238E27FC236}">
                <a16:creationId xmlns:a16="http://schemas.microsoft.com/office/drawing/2014/main" id="{2470208F-A15C-4C0F-9FD1-3CC76EF6D56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51910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2" name="Logo_SBB_Symbol">
            <a:extLst>
              <a:ext uri="{FF2B5EF4-FFF2-40B4-BE49-F238E27FC236}">
                <a16:creationId xmlns:a16="http://schemas.microsoft.com/office/drawing/2014/main" id="{C55278FF-3F13-4F04-BFA6-4D49C8DADB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2006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6" name="Freeform 1"/>
          <p:cNvSpPr/>
          <p:nvPr userDrawn="1"/>
        </p:nvSpPr>
        <p:spPr bwMode="ltGray">
          <a:xfrm>
            <a:off x="-7668" y="782129"/>
            <a:ext cx="10259683" cy="831724"/>
          </a:xfrm>
          <a:custGeom>
            <a:avLst/>
            <a:gdLst>
              <a:gd name="connsiteX0" fmla="*/ 7694762 w 7694762"/>
              <a:gd name="connsiteY0" fmla="*/ 1368725 h 4560498"/>
              <a:gd name="connsiteX1" fmla="*/ 7694762 w 7694762"/>
              <a:gd name="connsiteY1" fmla="*/ 4560498 h 4560498"/>
              <a:gd name="connsiteX2" fmla="*/ 0 w 7694762"/>
              <a:gd name="connsiteY2" fmla="*/ 4560498 h 4560498"/>
              <a:gd name="connsiteX3" fmla="*/ 0 w 7694762"/>
              <a:gd name="connsiteY3" fmla="*/ 0 h 4560498"/>
              <a:gd name="connsiteX4" fmla="*/ 7694762 w 7694762"/>
              <a:gd name="connsiteY4" fmla="*/ 1368725 h 45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762" h="4560498">
                <a:moveTo>
                  <a:pt x="7694762" y="1368725"/>
                </a:moveTo>
                <a:lnTo>
                  <a:pt x="7694762" y="4560498"/>
                </a:lnTo>
                <a:lnTo>
                  <a:pt x="0" y="4560498"/>
                </a:lnTo>
                <a:lnTo>
                  <a:pt x="0" y="0"/>
                </a:lnTo>
                <a:lnTo>
                  <a:pt x="7694762" y="1368725"/>
                </a:ln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p:cNvSpPr>
            <a:spLocks noGrp="1"/>
          </p:cNvSpPr>
          <p:nvPr>
            <p:ph type="title" hasCustomPrompt="1"/>
          </p:nvPr>
        </p:nvSpPr>
        <p:spPr>
          <a:xfrm>
            <a:off x="720000" y="2616000"/>
            <a:ext cx="9217520" cy="3984000"/>
          </a:xfrm>
          <a:prstGeom prst="rect">
            <a:avLst/>
          </a:prstGeom>
        </p:spPr>
        <p:txBody>
          <a:bodyPr wrap="square" bIns="0" anchor="t" anchorCtr="0">
            <a:noAutofit/>
          </a:bodyPr>
          <a:lstStyle>
            <a:lvl1pPr algn="l">
              <a:lnSpc>
                <a:spcPct val="100000"/>
              </a:lnSpc>
              <a:defRPr sz="4267" b="0" cap="none" baseline="0">
                <a:solidFill>
                  <a:srgbClr val="FFFFFF"/>
                </a:solidFill>
              </a:defRPr>
            </a:lvl1pPr>
          </a:lstStyle>
          <a:p>
            <a:r>
              <a:rPr lang="de-CH" noProof="0"/>
              <a:t>Der Kapiteltext hat maximal 3 Zeilen.</a:t>
            </a:r>
          </a:p>
        </p:txBody>
      </p:sp>
      <p:pic>
        <p:nvPicPr>
          <p:cNvPr id="4" name="Logo_SBB_Symbol">
            <a:extLst>
              <a:ext uri="{FF2B5EF4-FFF2-40B4-BE49-F238E27FC236}">
                <a16:creationId xmlns:a16="http://schemas.microsoft.com/office/drawing/2014/main" id="{69BA78CF-CC2D-4B72-81CD-B590B9E07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65423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sfolie 1 mit Bild">
    <p:bg>
      <p:bgPr>
        <a:solidFill>
          <a:schemeClr val="bg1"/>
        </a:solidFill>
        <a:effectLst/>
      </p:bgPr>
    </p:bg>
    <p:spTree>
      <p:nvGrpSpPr>
        <p:cNvPr id="1" name=""/>
        <p:cNvGrpSpPr/>
        <p:nvPr/>
      </p:nvGrpSpPr>
      <p:grpSpPr>
        <a:xfrm>
          <a:off x="0" y="0"/>
          <a:ext cx="0" cy="0"/>
          <a:chOff x="0" y="0"/>
          <a:chExt cx="0" cy="0"/>
        </a:xfrm>
      </p:grpSpPr>
      <p:sp>
        <p:nvSpPr>
          <p:cNvPr id="6" name="Freeform 2"/>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7" name="Freeform 1"/>
          <p:cNvSpPr>
            <a:spLocks/>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2" name="Title 1"/>
          <p:cNvSpPr>
            <a:spLocks noGrp="1"/>
          </p:cNvSpPr>
          <p:nvPr>
            <p:ph type="ctrTitle" hasCustomPrompt="1"/>
          </p:nvPr>
        </p:nvSpPr>
        <p:spPr>
          <a:xfrm>
            <a:off x="431374" y="1609837"/>
            <a:ext cx="3937428" cy="3163312"/>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a:t>Fügen Sie hier Ihren Text ein. Mehrere Zeilen sind möglich.</a:t>
            </a:r>
          </a:p>
        </p:txBody>
      </p:sp>
      <p:pic>
        <p:nvPicPr>
          <p:cNvPr id="5" name="Logo_SBB_Symbol">
            <a:extLst>
              <a:ext uri="{FF2B5EF4-FFF2-40B4-BE49-F238E27FC236}">
                <a16:creationId xmlns:a16="http://schemas.microsoft.com/office/drawing/2014/main" id="{4620A341-5696-4DBC-9BA9-4AE19CE248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12882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sfolie 2 mit Bild">
    <p:spTree>
      <p:nvGrpSpPr>
        <p:cNvPr id="1" name=""/>
        <p:cNvGrpSpPr/>
        <p:nvPr/>
      </p:nvGrpSpPr>
      <p:grpSpPr>
        <a:xfrm>
          <a:off x="0" y="0"/>
          <a:ext cx="0" cy="0"/>
          <a:chOff x="0" y="0"/>
          <a:chExt cx="0" cy="0"/>
        </a:xfrm>
      </p:grpSpPr>
      <p:sp>
        <p:nvSpPr>
          <p:cNvPr id="10" name="Freeform 2"/>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11" name="Freeform 1"/>
          <p:cNvSpPr>
            <a:spLocks/>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371" y="1645323"/>
            <a:ext cx="3937429" cy="4514056"/>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Mehrere Zeilen sind möglich.</a:t>
            </a:r>
          </a:p>
        </p:txBody>
      </p:sp>
      <p:pic>
        <p:nvPicPr>
          <p:cNvPr id="5" name="Logo_SBB_Symbol">
            <a:extLst>
              <a:ext uri="{FF2B5EF4-FFF2-40B4-BE49-F238E27FC236}">
                <a16:creationId xmlns:a16="http://schemas.microsoft.com/office/drawing/2014/main" id="{0DAC85A2-2540-4A41-AD82-500D72C817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72743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545310"/>
            <a:ext cx="7296381" cy="1052341"/>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a:t>
            </a:r>
            <a:br>
              <a:rPr lang="de-CH" noProof="0"/>
            </a:br>
            <a:r>
              <a:rPr lang="de-CH" noProof="0"/>
              <a:t>Zwei Zeilen sind möglich.</a:t>
            </a:r>
          </a:p>
        </p:txBody>
      </p:sp>
      <p:pic>
        <p:nvPicPr>
          <p:cNvPr id="6" name="Logo_SBB_Symbol">
            <a:extLst>
              <a:ext uri="{FF2B5EF4-FFF2-40B4-BE49-F238E27FC236}">
                <a16:creationId xmlns:a16="http://schemas.microsoft.com/office/drawing/2014/main" id="{0400E809-12DA-4150-AF82-E56B11024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94752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641022"/>
            <a:ext cx="7296381" cy="956629"/>
          </a:xfrm>
          <a:prstGeom prst="rect">
            <a:avLst/>
          </a:prstGeom>
        </p:spPr>
        <p:txBody>
          <a:bodyPr wrap="square" tIns="0" bIns="0" anchor="t" anchorCtr="0">
            <a:noAutofit/>
          </a:bodyPr>
          <a:lstStyle>
            <a:lvl1pPr>
              <a:lnSpc>
                <a:spcPct val="100000"/>
              </a:lnSpc>
              <a:defRPr sz="3733" b="1" baseline="0">
                <a:solidFill>
                  <a:srgbClr val="FFFFFF"/>
                </a:solidFill>
              </a:defRPr>
            </a:lvl1pPr>
          </a:lstStyle>
          <a:p>
            <a:r>
              <a:rPr lang="de-CH" noProof="0"/>
              <a:t>Danke für Ihre Aufmerksamkeit.</a:t>
            </a:r>
          </a:p>
        </p:txBody>
      </p:sp>
      <p:pic>
        <p:nvPicPr>
          <p:cNvPr id="6" name="Logo_SBB_Cargo_D" hidden="1">
            <a:extLst>
              <a:ext uri="{FF2B5EF4-FFF2-40B4-BE49-F238E27FC236}">
                <a16:creationId xmlns:a16="http://schemas.microsoft.com/office/drawing/2014/main" id="{D4065558-8A0D-47BF-AD5E-F38F9339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_H" hidden="1">
            <a:extLst>
              <a:ext uri="{FF2B5EF4-FFF2-40B4-BE49-F238E27FC236}">
                <a16:creationId xmlns:a16="http://schemas.microsoft.com/office/drawing/2014/main" id="{A838A69E-C97D-4929-9329-46E4FEFFC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9" name="Logo_SBB_CargoInt_D" hidden="1">
            <a:extLst>
              <a:ext uri="{FF2B5EF4-FFF2-40B4-BE49-F238E27FC236}">
                <a16:creationId xmlns:a16="http://schemas.microsoft.com/office/drawing/2014/main" id="{B0B99F17-3089-4684-AF63-D1C50A5678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0" name="Logo_SBB_CargoInt_H" hidden="1">
            <a:extLst>
              <a:ext uri="{FF2B5EF4-FFF2-40B4-BE49-F238E27FC236}">
                <a16:creationId xmlns:a16="http://schemas.microsoft.com/office/drawing/2014/main" id="{85D83D19-9785-4C17-BB76-59F2555371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1" name="Logo_SBB_Standard_D" hidden="1">
            <a:extLst>
              <a:ext uri="{FF2B5EF4-FFF2-40B4-BE49-F238E27FC236}">
                <a16:creationId xmlns:a16="http://schemas.microsoft.com/office/drawing/2014/main" id="{860C43D7-48AF-4534-8923-B9081EB74F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2" name="Logo_SBB_Standard_H">
            <a:extLst>
              <a:ext uri="{FF2B5EF4-FFF2-40B4-BE49-F238E27FC236}">
                <a16:creationId xmlns:a16="http://schemas.microsoft.com/office/drawing/2014/main" id="{03945263-FDE4-4196-982D-DC754FE51E4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69026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1735568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0203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4401249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671785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Logo schwarz">
    <p:spTree>
      <p:nvGrpSpPr>
        <p:cNvPr id="1" name=""/>
        <p:cNvGrpSpPr/>
        <p:nvPr/>
      </p:nvGrpSpPr>
      <p:grpSpPr>
        <a:xfrm>
          <a:off x="0" y="0"/>
          <a:ext cx="0" cy="0"/>
          <a:chOff x="0" y="0"/>
          <a:chExt cx="0" cy="0"/>
        </a:xfrm>
      </p:grpSpPr>
      <p:sp>
        <p:nvSpPr>
          <p:cNvPr id="8" name="Freeform 2"/>
          <p:cNvSpPr>
            <a:spLocks/>
          </p:cNvSpPr>
          <p:nvPr userDrawn="1"/>
        </p:nvSpPr>
        <p:spPr>
          <a:xfrm>
            <a:off x="-19200" y="768897"/>
            <a:ext cx="4675040"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9" name="Freeform 1"/>
          <p:cNvSpPr/>
          <p:nvPr userDrawn="1"/>
        </p:nvSpPr>
        <p:spPr>
          <a:xfrm>
            <a:off x="-19200" y="768895"/>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3" name="Subtitle 2"/>
          <p:cNvSpPr>
            <a:spLocks noGrp="1"/>
          </p:cNvSpPr>
          <p:nvPr>
            <p:ph type="subTitle" idx="1" hasCustomPrompt="1"/>
          </p:nvPr>
        </p:nvSpPr>
        <p:spPr>
          <a:xfrm>
            <a:off x="431372" y="4108200"/>
            <a:ext cx="3936000" cy="648000"/>
          </a:xfrm>
          <a:prstGeom prst="rect">
            <a:avLst/>
          </a:prstGeom>
        </p:spPr>
        <p:txBody>
          <a:bodyPr vert="horz" tIns="0">
            <a:noAutofit/>
          </a:bodyPr>
          <a:lstStyle>
            <a:lvl1pPr marL="0" indent="0" algn="l">
              <a:lnSpc>
                <a:spcPct val="100000"/>
              </a:lnSpc>
              <a:spcBef>
                <a:spcPts val="0"/>
              </a:spcBef>
              <a:buNone/>
              <a:defRPr sz="1867" baseline="0">
                <a:solidFill>
                  <a:srgbClr val="FFFFFF"/>
                </a:solidFill>
              </a:defRPr>
            </a:lvl1pPr>
            <a:lvl2pPr marL="544202" indent="0" algn="ctr">
              <a:buNone/>
              <a:defRPr>
                <a:solidFill>
                  <a:schemeClr val="tx1">
                    <a:tint val="75000"/>
                  </a:schemeClr>
                </a:solidFill>
              </a:defRPr>
            </a:lvl2pPr>
            <a:lvl3pPr marL="1088406" indent="0" algn="ctr">
              <a:buNone/>
              <a:defRPr>
                <a:solidFill>
                  <a:schemeClr val="tx1">
                    <a:tint val="75000"/>
                  </a:schemeClr>
                </a:solidFill>
              </a:defRPr>
            </a:lvl3pPr>
            <a:lvl4pPr marL="1632609" indent="0" algn="ctr">
              <a:buNone/>
              <a:defRPr>
                <a:solidFill>
                  <a:schemeClr val="tx1">
                    <a:tint val="75000"/>
                  </a:schemeClr>
                </a:solidFill>
              </a:defRPr>
            </a:lvl4pPr>
            <a:lvl5pPr marL="2176810" indent="0" algn="ctr">
              <a:buNone/>
              <a:defRPr>
                <a:solidFill>
                  <a:schemeClr val="tx1">
                    <a:tint val="75000"/>
                  </a:schemeClr>
                </a:solidFill>
              </a:defRPr>
            </a:lvl5pPr>
            <a:lvl6pPr marL="2721011" indent="0" algn="ctr">
              <a:buNone/>
              <a:defRPr>
                <a:solidFill>
                  <a:schemeClr val="tx1">
                    <a:tint val="75000"/>
                  </a:schemeClr>
                </a:solidFill>
              </a:defRPr>
            </a:lvl6pPr>
            <a:lvl7pPr marL="3265214" indent="0" algn="ctr">
              <a:buNone/>
              <a:defRPr>
                <a:solidFill>
                  <a:schemeClr val="tx1">
                    <a:tint val="75000"/>
                  </a:schemeClr>
                </a:solidFill>
              </a:defRPr>
            </a:lvl7pPr>
            <a:lvl8pPr marL="3809417" indent="0" algn="ctr">
              <a:buNone/>
              <a:defRPr>
                <a:solidFill>
                  <a:schemeClr val="tx1">
                    <a:tint val="75000"/>
                  </a:schemeClr>
                </a:solidFill>
              </a:defRPr>
            </a:lvl8pPr>
            <a:lvl9pPr marL="4353619" indent="0" algn="ctr">
              <a:buNone/>
              <a:defRPr>
                <a:solidFill>
                  <a:schemeClr val="tx1">
                    <a:tint val="75000"/>
                  </a:schemeClr>
                </a:solidFill>
              </a:defRPr>
            </a:lvl9pPr>
          </a:lstStyle>
          <a:p>
            <a:r>
              <a:rPr lang="de-CH" noProof="0"/>
              <a:t>Name Vortragender, Ort, Datum</a:t>
            </a:r>
          </a:p>
        </p:txBody>
      </p:sp>
      <p:sp>
        <p:nvSpPr>
          <p:cNvPr id="7" name="Title 1"/>
          <p:cNvSpPr>
            <a:spLocks noGrp="1"/>
          </p:cNvSpPr>
          <p:nvPr>
            <p:ph type="ctrTitle" hasCustomPrompt="1"/>
          </p:nvPr>
        </p:nvSpPr>
        <p:spPr>
          <a:xfrm>
            <a:off x="431372" y="1583400"/>
            <a:ext cx="3936000" cy="2131200"/>
          </a:xfrm>
          <a:prstGeom prst="rect">
            <a:avLst/>
          </a:prstGeom>
        </p:spPr>
        <p:txBody>
          <a:bodyPr vert="horz" wrap="square" bIns="0">
            <a:noAutofit/>
          </a:bodyPr>
          <a:lstStyle>
            <a:lvl1pPr>
              <a:lnSpc>
                <a:spcPct val="100000"/>
              </a:lnSpc>
              <a:defRPr sz="3200" baseline="0">
                <a:solidFill>
                  <a:srgbClr val="FFFFFF"/>
                </a:solidFill>
              </a:defRPr>
            </a:lvl1pPr>
          </a:lstStyle>
          <a:p>
            <a:r>
              <a:rPr lang="de-CH" noProof="0"/>
              <a:t>Dies ist der Titel der Präsentation.</a:t>
            </a:r>
          </a:p>
        </p:txBody>
      </p:sp>
      <p:pic>
        <p:nvPicPr>
          <p:cNvPr id="6" name="Logo_SBB_Cargo_D" hidden="1">
            <a:extLst>
              <a:ext uri="{FF2B5EF4-FFF2-40B4-BE49-F238E27FC236}">
                <a16:creationId xmlns:a16="http://schemas.microsoft.com/office/drawing/2014/main" id="{CC98CB06-C3A4-4B7F-BEBD-55BC66C12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0" name="Logo_SBB_Cargo_H" hidden="1">
            <a:extLst>
              <a:ext uri="{FF2B5EF4-FFF2-40B4-BE49-F238E27FC236}">
                <a16:creationId xmlns:a16="http://schemas.microsoft.com/office/drawing/2014/main" id="{4135C476-AE98-4106-8AE0-13D2AE743A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1" name="Logo_SBB_CargoInt_D" hidden="1">
            <a:extLst>
              <a:ext uri="{FF2B5EF4-FFF2-40B4-BE49-F238E27FC236}">
                <a16:creationId xmlns:a16="http://schemas.microsoft.com/office/drawing/2014/main" id="{FD12A7B3-71B9-494B-91E8-8FFF57D1E0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2" name="Logo_SBB_CargoInt_H" hidden="1">
            <a:extLst>
              <a:ext uri="{FF2B5EF4-FFF2-40B4-BE49-F238E27FC236}">
                <a16:creationId xmlns:a16="http://schemas.microsoft.com/office/drawing/2014/main" id="{131A7DC8-9674-490D-A909-613CE2451C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3" name="Logo_SBB_Standard_D" hidden="1">
            <a:extLst>
              <a:ext uri="{FF2B5EF4-FFF2-40B4-BE49-F238E27FC236}">
                <a16:creationId xmlns:a16="http://schemas.microsoft.com/office/drawing/2014/main" id="{846D5CAE-9CEF-48FD-827D-D7616C83EC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4" name="Logo_SBB_Standard_H">
            <a:extLst>
              <a:ext uri="{FF2B5EF4-FFF2-40B4-BE49-F238E27FC236}">
                <a16:creationId xmlns:a16="http://schemas.microsoft.com/office/drawing/2014/main" id="{1A09026F-AB72-4393-BAF3-D0CF774B48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2324759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4088594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3496203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4</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2713129732"/>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53593996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2458317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827162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137415483"/>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945270678"/>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60557231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90470"/>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Agenda.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a:p>
            <a:pPr lvl="4"/>
            <a:r>
              <a:rPr lang="de-DE" noProof="0"/>
              <a:t>Fünfte Ebene</a:t>
            </a:r>
            <a:endParaRPr lang="de-CH"/>
          </a:p>
        </p:txBody>
      </p:sp>
      <p:pic>
        <p:nvPicPr>
          <p:cNvPr id="6" name="Logo_SBB_Symbol">
            <a:extLst>
              <a:ext uri="{FF2B5EF4-FFF2-40B4-BE49-F238E27FC236}">
                <a16:creationId xmlns:a16="http://schemas.microsoft.com/office/drawing/2014/main" id="{32278952-E884-4B4A-871D-42F338B3E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8689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1636566"/>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8025385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403190601"/>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2543550691"/>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2851577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69942819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960761542"/>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5052822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36289736"/>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09477269"/>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Agenda"/>
          <p:cNvSpPr>
            <a:spLocks noGrp="1"/>
          </p:cNvSpPr>
          <p:nvPr>
            <p:ph type="body" sz="quarter" idx="12" hasCustomPrompt="1"/>
          </p:nvPr>
        </p:nvSpPr>
        <p:spPr>
          <a:xfrm>
            <a:off x="719665" y="1509183"/>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E59F5921-86CF-4E9B-A505-04830F74C0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709428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72636244"/>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9973107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974114819"/>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74276240"/>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117978274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407408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4</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2989195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630614984"/>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5035641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408646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Zweispaltige 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7"/>
          <p:cNvSpPr>
            <a:spLocks noGrp="1"/>
          </p:cNvSpPr>
          <p:nvPr>
            <p:ph type="body" sz="quarter" idx="13" hasCustomPrompt="1"/>
          </p:nvPr>
        </p:nvSpPr>
        <p:spPr>
          <a:xfrm>
            <a:off x="6384000" y="1509184"/>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9" name="Logo_SBB_Symbol">
            <a:extLst>
              <a:ext uri="{FF2B5EF4-FFF2-40B4-BE49-F238E27FC236}">
                <a16:creationId xmlns:a16="http://schemas.microsoft.com/office/drawing/2014/main" id="{C346BCAC-1E9D-4596-9ACA-18319FE92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13838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08099513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150625406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3738247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5378103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4</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2306094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396027491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105453352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4</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4269970243"/>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5613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4263527001"/>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1509184"/>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7E10FE14-391B-401F-99CE-D50508294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8972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357650080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01113518"/>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5737704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01919473"/>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323188733"/>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270142305"/>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43355454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748219606"/>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327572643"/>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17859644"/>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2467200"/>
            <a:ext cx="11040000" cy="41280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6"/>
          <p:cNvSpPr>
            <a:spLocks noGrp="1"/>
          </p:cNvSpPr>
          <p:nvPr>
            <p:ph type="body" sz="quarter" idx="13" hasCustomPrompt="1"/>
          </p:nvPr>
        </p:nvSpPr>
        <p:spPr>
          <a:xfrm>
            <a:off x="719667" y="1509184"/>
            <a:ext cx="11038417" cy="854400"/>
          </a:xfrm>
        </p:spPr>
        <p:txBody>
          <a:bodyPr/>
          <a:lstStyle>
            <a:lvl1pPr marL="0" indent="0">
              <a:buNone/>
              <a:defRPr/>
            </a:lvl1pPr>
          </a:lstStyle>
          <a:p>
            <a:pPr lvl="0"/>
            <a:r>
              <a:rPr lang="de-DE" noProof="0"/>
              <a:t>Text durch Klicken hinzufügen</a:t>
            </a:r>
          </a:p>
        </p:txBody>
      </p:sp>
      <p:pic>
        <p:nvPicPr>
          <p:cNvPr id="9" name="Logo_SBB_Symbol">
            <a:extLst>
              <a:ext uri="{FF2B5EF4-FFF2-40B4-BE49-F238E27FC236}">
                <a16:creationId xmlns:a16="http://schemas.microsoft.com/office/drawing/2014/main" id="{0D917B75-7E27-45DF-8CD5-2AD4188F4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48075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0072428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4175679686"/>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17082528"/>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77211959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10073103"/>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4</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593037695"/>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666479330"/>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89864075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4</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6108156"/>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390385014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6864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7776000" y="1509184"/>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80677793-ADFC-4517-B0B5-B82B75B2BC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805409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96714555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4</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0574032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580206619"/>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808478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238166582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4</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678577806"/>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stat@sbb.ch 20.03.18</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1007533" y="1656000"/>
            <a:ext cx="10752667" cy="720799"/>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1007533" y="2451600"/>
            <a:ext cx="10752667" cy="3528016"/>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770387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4622400" y="1509183"/>
            <a:ext cx="71376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0" y="1508786"/>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3CEA8AC4-6E4B-49CB-8DA7-6A86A278B6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342592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10.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image" Target="../media/image9.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9.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61328A-DD5A-4376-9C6D-FC96B364189B}"/>
              </a:ext>
            </a:extLst>
          </p:cNvPr>
          <p:cNvGraphicFramePr>
            <a:graphicFrameLocks noChangeAspect="1"/>
          </p:cNvGraphicFramePr>
          <p:nvPr userDrawn="1">
            <p:custDataLst>
              <p:tags r:id="rId17"/>
            </p:custDataLst>
            <p:extLst>
              <p:ext uri="{D42A27DB-BD31-4B8C-83A1-F6EECF244321}">
                <p14:modId xmlns:p14="http://schemas.microsoft.com/office/powerpoint/2010/main" val="7258444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416" imgH="416" progId="TCLayout.ActiveDocument.1">
                  <p:embed/>
                </p:oleObj>
              </mc:Choice>
              <mc:Fallback>
                <p:oleObj name="think-cell Folie" r:id="rId18" imgW="416" imgH="416" progId="TCLayout.ActiveDocument.1">
                  <p:embed/>
                  <p:pic>
                    <p:nvPicPr>
                      <p:cNvPr id="2" name="Objekt 1" hidden="1">
                        <a:extLst>
                          <a:ext uri="{FF2B5EF4-FFF2-40B4-BE49-F238E27FC236}">
                            <a16:creationId xmlns:a16="http://schemas.microsoft.com/office/drawing/2014/main" id="{8F61328A-DD5A-4376-9C6D-FC96B364189B}"/>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5" name="Footer Placeholder 4"/>
          <p:cNvSpPr>
            <a:spLocks noGrp="1"/>
          </p:cNvSpPr>
          <p:nvPr>
            <p:ph type="ftr" sz="quarter" idx="3"/>
          </p:nvPr>
        </p:nvSpPr>
        <p:spPr>
          <a:xfrm>
            <a:off x="720000" y="6595200"/>
            <a:ext cx="10689600" cy="262800"/>
          </a:xfrm>
          <a:prstGeom prst="rect">
            <a:avLst/>
          </a:prstGeom>
        </p:spPr>
        <p:txBody>
          <a:bodyPr vert="horz" wrap="square" lIns="0" tIns="46800" rIns="0" bIns="46800" rtlCol="0" anchor="t" anchorCtr="0">
            <a:noAutofit/>
          </a:bodyPr>
          <a:lstStyle>
            <a:lvl1pPr algn="r">
              <a:defRPr sz="800">
                <a:solidFill>
                  <a:srgbClr val="000000"/>
                </a:solidFill>
                <a:latin typeface="Arial" pitchFamily="34" charset="0"/>
                <a:cs typeface="Arial" pitchFamily="34" charset="0"/>
              </a:defRPr>
            </a:lvl1pPr>
          </a:lstStyle>
          <a:p>
            <a:r>
              <a:rPr lang="de-CH"/>
              <a:t>stat@sbb.ch 18.11.2020</a:t>
            </a:r>
          </a:p>
        </p:txBody>
      </p:sp>
      <p:sp>
        <p:nvSpPr>
          <p:cNvPr id="6" name="Slide Number Placeholder 5"/>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800" b="1">
                <a:solidFill>
                  <a:srgbClr val="000000"/>
                </a:solidFill>
                <a:latin typeface="Arial" pitchFamily="34" charset="0"/>
                <a:cs typeface="Arial" pitchFamily="34" charset="0"/>
              </a:defRPr>
            </a:lvl1pPr>
          </a:lstStyle>
          <a:p>
            <a:fld id="{5E115662-413A-4888-B9BC-797CDE14544F}" type="slidenum">
              <a:rPr lang="de-CH" smtClean="0"/>
              <a:pPr/>
              <a:t>‹Nr.›</a:t>
            </a:fld>
            <a:endParaRPr lang="de-CH"/>
          </a:p>
        </p:txBody>
      </p:sp>
      <p:sp>
        <p:nvSpPr>
          <p:cNvPr id="3" name="Titelplatzhalter 2"/>
          <p:cNvSpPr>
            <a:spLocks noGrp="1"/>
          </p:cNvSpPr>
          <p:nvPr>
            <p:ph type="title"/>
          </p:nvPr>
        </p:nvSpPr>
        <p:spPr>
          <a:xfrm>
            <a:off x="720000" y="835200"/>
            <a:ext cx="11040200" cy="494400"/>
          </a:xfrm>
          <a:prstGeom prst="rect">
            <a:avLst/>
          </a:prstGeom>
        </p:spPr>
        <p:txBody>
          <a:bodyPr vert="horz" wrap="none" lIns="0" tIns="0" rIns="0" bIns="0" rtlCol="0" anchor="b" anchorCtr="0">
            <a:noAutofit/>
          </a:bodyPr>
          <a:lstStyle/>
          <a:p>
            <a:r>
              <a:rPr lang="de-DE"/>
              <a:t>Titelmasterformat durch Klicken bearbeiten</a:t>
            </a:r>
            <a:endParaRPr lang="de-CH"/>
          </a:p>
        </p:txBody>
      </p:sp>
      <p:sp>
        <p:nvSpPr>
          <p:cNvPr id="4" name="Textplatzhalter 3"/>
          <p:cNvSpPr>
            <a:spLocks noGrp="1"/>
          </p:cNvSpPr>
          <p:nvPr>
            <p:ph type="body" idx="1"/>
          </p:nvPr>
        </p:nvSpPr>
        <p:spPr>
          <a:xfrm>
            <a:off x="720000" y="1512000"/>
            <a:ext cx="11040000" cy="507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07758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4</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30078216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8"/>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4</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24736616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9"/>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316274F-10EE-42B8-9812-7995639350A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59" progId="TCLayout.ActiveDocument.1">
                  <p:embed/>
                </p:oleObj>
              </mc:Choice>
              <mc:Fallback>
                <p:oleObj name="think-cell Folie" r:id="rId5" imgW="360" imgH="359" progId="TCLayout.ActiveDocument.1">
                  <p:embed/>
                  <p:pic>
                    <p:nvPicPr>
                      <p:cNvPr id="4" name="Objekt 3" hidden="1">
                        <a:extLst>
                          <a:ext uri="{FF2B5EF4-FFF2-40B4-BE49-F238E27FC236}">
                            <a16:creationId xmlns:a16="http://schemas.microsoft.com/office/drawing/2014/main" id="{A316274F-10EE-42B8-9812-7995639350A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CD79D1D-00A8-4538-BA52-D1C8BBD8082F}"/>
              </a:ext>
            </a:extLst>
          </p:cNvPr>
          <p:cNvSpPr/>
          <p:nvPr>
            <p:custDataLst>
              <p:tags r:id="rId2"/>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9" name="Diagramm 8"/>
          <p:cNvGraphicFramePr/>
          <p:nvPr>
            <p:extLst>
              <p:ext uri="{D42A27DB-BD31-4B8C-83A1-F6EECF244321}">
                <p14:modId xmlns:p14="http://schemas.microsoft.com/office/powerpoint/2010/main" val="3525271591"/>
              </p:ext>
            </p:extLst>
          </p:nvPr>
        </p:nvGraphicFramePr>
        <p:xfrm>
          <a:off x="440514" y="1261472"/>
          <a:ext cx="11066242" cy="5246119"/>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572A723-7466-42C5-BC49-15C6E380BE11}"/>
              </a:ext>
            </a:extLst>
          </p:cNvPr>
          <p:cNvSpPr>
            <a:spLocks noGrp="1"/>
          </p:cNvSpPr>
          <p:nvPr>
            <p:ph type="title"/>
          </p:nvPr>
        </p:nvSpPr>
        <p:spPr>
          <a:xfrm>
            <a:off x="1487488" y="493295"/>
            <a:ext cx="9220200" cy="848226"/>
          </a:xfrm>
        </p:spPr>
        <p:txBody>
          <a:bodyPr/>
          <a:lstStyle/>
          <a:p>
            <a:r>
              <a:rPr lang="de-CH" dirty="0"/>
              <a:t>Points de </a:t>
            </a:r>
            <a:r>
              <a:rPr lang="de-CH" dirty="0" err="1"/>
              <a:t>vente</a:t>
            </a:r>
            <a:r>
              <a:rPr lang="de-CH" dirty="0"/>
              <a:t> CFF.</a:t>
            </a:r>
          </a:p>
        </p:txBody>
      </p:sp>
      <p:sp>
        <p:nvSpPr>
          <p:cNvPr id="11" name="Textfeld 10">
            <a:extLst>
              <a:ext uri="{FF2B5EF4-FFF2-40B4-BE49-F238E27FC236}">
                <a16:creationId xmlns:a16="http://schemas.microsoft.com/office/drawing/2014/main" id="{45495507-A500-4876-A7D7-039B7559AD0C}"/>
              </a:ext>
            </a:extLst>
          </p:cNvPr>
          <p:cNvSpPr txBox="1"/>
          <p:nvPr/>
        </p:nvSpPr>
        <p:spPr>
          <a:xfrm>
            <a:off x="1497161" y="6101349"/>
            <a:ext cx="8016328" cy="5400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44444"/>
                </a:solidFill>
                <a:effectLst/>
                <a:uLnTx/>
                <a:uFillTx/>
                <a:latin typeface="SBB Light"/>
                <a:ea typeface="+mn-ea"/>
                <a:cs typeface="Arial" pitchFamily="34" charset="0"/>
              </a:rPr>
              <a:t>Le nombre de points de vente CFF ne correspond pas avec le nombre de gares CFF: les points de vente situés dans des gares faisant partie de l’infrastructure CFF peuvent en effet être gérés par d’autres entreprises de transport. Par ailleurs, certains points de vente CFF ne sont pas situés dans des gares (exemple: Genève </a:t>
            </a:r>
            <a:r>
              <a:rPr kumimoji="0" lang="fr-FR" sz="1000" b="0" i="0" u="none" strike="noStrike" kern="1200" cap="none" spc="0" normalizeH="0" baseline="0" noProof="0" dirty="0" err="1">
                <a:ln>
                  <a:noFill/>
                </a:ln>
                <a:solidFill>
                  <a:srgbClr val="444444"/>
                </a:solidFill>
                <a:effectLst/>
                <a:uLnTx/>
                <a:uFillTx/>
                <a:latin typeface="SBB Light"/>
                <a:ea typeface="+mn-ea"/>
                <a:cs typeface="Arial" pitchFamily="34" charset="0"/>
              </a:rPr>
              <a:t>Balexert</a:t>
            </a:r>
            <a:r>
              <a:rPr kumimoji="0" lang="fr-FR" sz="1000" b="0" i="0" u="none" strike="noStrike" kern="1200" cap="none" spc="0" normalizeH="0" baseline="0" noProof="0" dirty="0">
                <a:ln>
                  <a:noFill/>
                </a:ln>
                <a:solidFill>
                  <a:srgbClr val="444444"/>
                </a:solidFill>
                <a:effectLst/>
                <a:uLnTx/>
                <a:uFillTx/>
                <a:latin typeface="SBB Light"/>
                <a:ea typeface="+mn-ea"/>
                <a:cs typeface="Arial" pitchFamily="34" charset="0"/>
              </a:rPr>
              <a:t>) ou des gares CFF (exemple: Constance).</a:t>
            </a:r>
          </a:p>
        </p:txBody>
      </p:sp>
      <p:sp>
        <p:nvSpPr>
          <p:cNvPr id="12" name="Footer Placeholder 2">
            <a:extLst>
              <a:ext uri="{FF2B5EF4-FFF2-40B4-BE49-F238E27FC236}">
                <a16:creationId xmlns:a16="http://schemas.microsoft.com/office/drawing/2014/main" id="{1A4657D7-3337-475E-8E67-E8F468A949AF}"/>
              </a:ext>
            </a:extLst>
          </p:cNvPr>
          <p:cNvSpPr>
            <a:spLocks noGrp="1"/>
          </p:cNvSpPr>
          <p:nvPr>
            <p:ph type="ftr" sz="quarter" idx="11"/>
          </p:nvPr>
        </p:nvSpPr>
        <p:spPr>
          <a:xfrm>
            <a:off x="8976745" y="5875749"/>
            <a:ext cx="1727767" cy="1706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000" b="0" i="0" u="none" strike="noStrike" kern="0" cap="none" spc="0" normalizeH="0" baseline="0" noProof="0" dirty="0" err="1">
                <a:ln>
                  <a:noFill/>
                </a:ln>
                <a:solidFill>
                  <a:srgbClr val="444444"/>
                </a:solidFill>
                <a:effectLst/>
                <a:uLnTx/>
                <a:uFillTx/>
                <a:latin typeface="SBB Light"/>
                <a:ea typeface="+mn-ea"/>
                <a:cs typeface="+mn-cs"/>
              </a:rPr>
              <a:t>reporting</a:t>
            </a:r>
            <a:r>
              <a:rPr kumimoji="0" lang="de-CH" sz="1000" b="0" i="0" u="none" strike="noStrike" kern="0" cap="none" spc="0" normalizeH="0" baseline="0" noProof="0" dirty="0">
                <a:ln>
                  <a:noFill/>
                </a:ln>
                <a:solidFill>
                  <a:srgbClr val="444444"/>
                </a:solidFill>
                <a:effectLst/>
                <a:uLnTx/>
                <a:uFillTx/>
                <a:latin typeface="SBB Light"/>
                <a:ea typeface="+mn-ea"/>
                <a:cs typeface="+mn-cs"/>
              </a:rPr>
              <a:t>.</a:t>
            </a:r>
            <a:r>
              <a:rPr lang="de-CH" sz="1000" kern="0" spc="0" dirty="0" err="1">
                <a:solidFill>
                  <a:srgbClr val="444444"/>
                </a:solidFill>
                <a:latin typeface="SBB Light"/>
              </a:rPr>
              <a:t>sbb</a:t>
            </a:r>
            <a:r>
              <a:rPr kumimoji="0" lang="de-CH" sz="1000" b="0" i="0" u="none" strike="noStrike" kern="0" cap="none" spc="0" normalizeH="0" baseline="0" noProof="0" dirty="0">
                <a:ln>
                  <a:noFill/>
                </a:ln>
                <a:solidFill>
                  <a:srgbClr val="444444"/>
                </a:solidFill>
                <a:effectLst/>
                <a:uLnTx/>
                <a:uFillTx/>
                <a:latin typeface="SBB Light"/>
                <a:ea typeface="+mn-ea"/>
                <a:cs typeface="+mn-cs"/>
              </a:rPr>
              <a:t>.ch</a:t>
            </a:r>
          </a:p>
        </p:txBody>
      </p:sp>
    </p:spTree>
    <p:extLst>
      <p:ext uri="{BB962C8B-B14F-4D97-AF65-F5344CB8AC3E}">
        <p14:creationId xmlns:p14="http://schemas.microsoft.com/office/powerpoint/2010/main" val="976233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1LGE5CWQXCaS3mOvkoEHA"/>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F39B86A-6FEA-4482-98DD-A0AF78DA8361}" vid="{2F05930E-573E-4379-8421-B361C9D363BB}"/>
    </a:ext>
  </a:extLst>
</a:theme>
</file>

<file path=ppt/theme/theme2.xml><?xml version="1.0" encoding="utf-8"?>
<a:theme xmlns:a="http://schemas.openxmlformats.org/drawingml/2006/main" name="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Vorlage_16-9.potx" id="{AFB2A5A8-0A5A-4D2B-9D1C-2542F94FB30E}" vid="{15E43739-6510-4178-811B-133FA854CD7A}"/>
    </a:ext>
  </a:extLst>
</a:theme>
</file>

<file path=ppt/theme/theme3.xml><?xml version="1.0" encoding="utf-8"?>
<a:theme xmlns:a="http://schemas.openxmlformats.org/drawingml/2006/main" name="1_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Folienbibliothek_16-9.potx" id="{5661FAAD-0434-4CE1-BCF0-B44E0993DACB}" vid="{03AF73CB-3D4D-47A6-916A-F20A5F10DF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usgabe xmlns="2f5c8543-cf23-4718-a3b8-32b0a91d511a" xsi:nil="true"/>
    <SharedWithUsers xmlns="96e82a89-ba48-4728-b345-cf206dbec8f1">
      <UserInfo>
        <DisplayName>Schärli Reto (KOM-NEW)</DisplayName>
        <AccountId>437</AccountId>
        <AccountType/>
      </UserInfo>
      <UserInfo>
        <DisplayName>Vrecko Gabriela (KOM-I)</DisplayName>
        <AccountId>345</AccountId>
        <AccountType/>
      </UserInfo>
      <UserInfo>
        <DisplayName>Vincen Raj Bobisha (KOM-NEW - Extern)</DisplayName>
        <AccountId>4510</AccountId>
        <AccountType/>
      </UserInfo>
      <UserInfo>
        <DisplayName>Carecci Silvano (IM-BW-BDM)</DisplayName>
        <AccountId>5126</AccountId>
        <AccountType/>
      </UserInfo>
      <UserInfo>
        <DisplayName>Burkhard Sabina (KOM-NEW)</DisplayName>
        <AccountId>5505</AccountId>
        <AccountType/>
      </UserInfo>
      <UserInfo>
        <DisplayName>Susuri Urimé (F)</DisplayName>
        <AccountId>5872</AccountId>
        <AccountType/>
      </UserInfo>
      <UserInfo>
        <DisplayName>Vincen Raj Bobisha (HR-TKB-FU-HOP)</DisplayName>
        <AccountId>5704</AccountId>
        <AccountType/>
      </UserInfo>
      <UserInfo>
        <DisplayName>Dischoe Marc Olivier (KOM-NEW)</DisplayName>
        <AccountId>577</AccountId>
        <AccountType/>
      </UserInfo>
      <UserInfo>
        <DisplayName>Wipf Claudia (KOM-P-MP)</DisplayName>
        <AccountId>844</AccountId>
        <AccountType/>
      </UserInfo>
    </SharedWithUsers>
    <lcf76f155ced4ddcb4097134ff3c332f xmlns="2f5c8543-cf23-4718-a3b8-32b0a91d511a">
      <Terms xmlns="http://schemas.microsoft.com/office/infopath/2007/PartnerControls"/>
    </lcf76f155ced4ddcb4097134ff3c332f>
    <TaxCatchAll xmlns="96e82a89-ba48-4728-b345-cf206dbec8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F392CA6BBE5574789A5155D1822A344" ma:contentTypeVersion="19" ma:contentTypeDescription="Ein neues Dokument erstellen." ma:contentTypeScope="" ma:versionID="f009240c06d823fa9e5067539a33b6c0">
  <xsd:schema xmlns:xsd="http://www.w3.org/2001/XMLSchema" xmlns:xs="http://www.w3.org/2001/XMLSchema" xmlns:p="http://schemas.microsoft.com/office/2006/metadata/properties" xmlns:ns2="96e82a89-ba48-4728-b345-cf206dbec8f1" xmlns:ns3="2f5c8543-cf23-4718-a3b8-32b0a91d511a" targetNamespace="http://schemas.microsoft.com/office/2006/metadata/properties" ma:root="true" ma:fieldsID="44a221af132cb57b1a13d5397cbea3a0" ns2:_="" ns3:_="">
    <xsd:import namespace="96e82a89-ba48-4728-b345-cf206dbec8f1"/>
    <xsd:import namespace="2f5c8543-cf23-4718-a3b8-32b0a91d51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Ausgabe"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e82a89-ba48-4728-b345-cf206dbec8f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37e3da64-c71a-4074-9be5-101312c09dec}" ma:internalName="TaxCatchAll" ma:showField="CatchAllData" ma:web="96e82a89-ba48-4728-b345-cf206dbec8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c8543-cf23-4718-a3b8-32b0a91d51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usgabe" ma:index="14" nillable="true" ma:displayName="Ausgabe" ma:description="Ausgabe des Dokumentes" ma:format="RadioButtons" ma:internalName="Ausgabe">
      <xsd:simpleType>
        <xsd:union memberTypes="dms:Text">
          <xsd:simpleType>
            <xsd:restriction base="dms:Choice">
              <xsd:enumeration value="2016"/>
              <xsd:enumeration value="2017"/>
              <xsd:enumeration value="2018"/>
              <xsd:enumeration value="2019"/>
            </xsd:restriction>
          </xsd:simpleType>
        </xsd:un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e7e7b05-955d-4ec1-8c45-691041b8b0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15E158-F398-42BF-8A91-7C2A147B9234}">
  <ds:schemaRefs>
    <ds:schemaRef ds:uri="2f5c8543-cf23-4718-a3b8-32b0a91d511a"/>
    <ds:schemaRef ds:uri="http://purl.org/dc/elements/1.1/"/>
    <ds:schemaRef ds:uri="http://schemas.openxmlformats.org/package/2006/metadata/core-properties"/>
    <ds:schemaRef ds:uri="http://www.w3.org/XML/1998/namespace"/>
    <ds:schemaRef ds:uri="http://purl.org/dc/terms/"/>
    <ds:schemaRef ds:uri="http://schemas.microsoft.com/office/2006/documentManagement/types"/>
    <ds:schemaRef ds:uri="http://schemas.microsoft.com/office/2006/metadata/properties"/>
    <ds:schemaRef ds:uri="http://schemas.microsoft.com/office/infopath/2007/PartnerControls"/>
    <ds:schemaRef ds:uri="96e82a89-ba48-4728-b345-cf206dbec8f1"/>
    <ds:schemaRef ds:uri="http://purl.org/dc/dcmitype/"/>
  </ds:schemaRefs>
</ds:datastoreItem>
</file>

<file path=customXml/itemProps2.xml><?xml version="1.0" encoding="utf-8"?>
<ds:datastoreItem xmlns:ds="http://schemas.openxmlformats.org/officeDocument/2006/customXml" ds:itemID="{1B94EABE-8E1A-4688-9461-9344339BD9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e82a89-ba48-4728-b345-cf206dbec8f1"/>
    <ds:schemaRef ds:uri="2f5c8543-cf23-4718-a3b8-32b0a91d51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B7085B-D9CF-4930-865D-AE9ED154F05C}">
  <ds:schemaRefs>
    <ds:schemaRef ds:uri="http://schemas.microsoft.com/sharepoint/v3/contenttype/forms"/>
  </ds:schemaRefs>
</ds:datastoreItem>
</file>

<file path=docMetadata/LabelInfo.xml><?xml version="1.0" encoding="utf-8"?>
<clbl:labelList xmlns:clbl="http://schemas.microsoft.com/office/2020/mipLabelMetadata">
  <clbl:label id="{5bc72e09-8d7d-491f-a3d1-5693fc6e93f6}" enabled="1" method="Privileged" siteId="{2cda5d11-f0ac-46b3-967d-af1b2e1bd01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96</Words>
  <Application>Microsoft Office PowerPoint</Application>
  <PresentationFormat>Breitbild</PresentationFormat>
  <Paragraphs>6</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SBB Light</vt:lpstr>
      <vt:lpstr>Symbol</vt:lpstr>
      <vt:lpstr>Wingdings 3</vt:lpstr>
      <vt:lpstr>1_20170515_PPT-Vorlage_NEU_16-9</vt:lpstr>
      <vt:lpstr>Benutzerdefiniertes Design</vt:lpstr>
      <vt:lpstr>1_Benutzerdefiniertes Design</vt:lpstr>
      <vt:lpstr>think-cell Folie</vt:lpstr>
      <vt:lpstr>Points de vente CFF.</vt:lpstr>
    </vt:vector>
  </TitlesOfParts>
  <Company>SBB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ints de vente CFF.</dc:title>
  <dc:creator>Meyer Raphael (KOM-PGA-VSF)</dc:creator>
  <cp:lastModifiedBy>Stefan Weigel (PAR-EPS)</cp:lastModifiedBy>
  <cp:revision>24</cp:revision>
  <dcterms:created xsi:type="dcterms:W3CDTF">2020-09-30T11:00:09Z</dcterms:created>
  <dcterms:modified xsi:type="dcterms:W3CDTF">2024-02-02T11:5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92CA6BBE5574789A5155D1822A344</vt:lpwstr>
  </property>
  <property fmtid="{D5CDD505-2E9C-101B-9397-08002B2CF9AE}" pid="3" name="_dlc_DocIdItemGuid">
    <vt:lpwstr>7f61737c-4fb7-4bc4-8821-d36f28de962c</vt:lpwstr>
  </property>
  <property fmtid="{D5CDD505-2E9C-101B-9397-08002B2CF9AE}" pid="4" name="TmpVertraulichkeit">
    <vt:lpwstr/>
  </property>
  <property fmtid="{D5CDD505-2E9C-101B-9397-08002B2CF9AE}" pid="5" name="TmpStatus">
    <vt:lpwstr/>
  </property>
  <property fmtid="{D5CDD505-2E9C-101B-9397-08002B2CF9AE}" pid="6" name="MSIP_Label_5bc72e09-8d7d-491f-a3d1-5693fc6e93f6_Enabled">
    <vt:lpwstr>true</vt:lpwstr>
  </property>
  <property fmtid="{D5CDD505-2E9C-101B-9397-08002B2CF9AE}" pid="7" name="MSIP_Label_5bc72e09-8d7d-491f-a3d1-5693fc6e93f6_SetDate">
    <vt:lpwstr>2021-10-19T13:12:15Z</vt:lpwstr>
  </property>
  <property fmtid="{D5CDD505-2E9C-101B-9397-08002B2CF9AE}" pid="8" name="MSIP_Label_5bc72e09-8d7d-491f-a3d1-5693fc6e93f6_Method">
    <vt:lpwstr>Privileged</vt:lpwstr>
  </property>
  <property fmtid="{D5CDD505-2E9C-101B-9397-08002B2CF9AE}" pid="9" name="MSIP_Label_5bc72e09-8d7d-491f-a3d1-5693fc6e93f6_Name">
    <vt:lpwstr>öffentlich</vt:lpwstr>
  </property>
  <property fmtid="{D5CDD505-2E9C-101B-9397-08002B2CF9AE}" pid="10" name="MSIP_Label_5bc72e09-8d7d-491f-a3d1-5693fc6e93f6_SiteId">
    <vt:lpwstr>2cda5d11-f0ac-46b3-967d-af1b2e1bd01a</vt:lpwstr>
  </property>
  <property fmtid="{D5CDD505-2E9C-101B-9397-08002B2CF9AE}" pid="11" name="MSIP_Label_5bc72e09-8d7d-491f-a3d1-5693fc6e93f6_ActionId">
    <vt:lpwstr>3b8d0866-56e4-4c4e-8fb7-7b1e972867f0</vt:lpwstr>
  </property>
  <property fmtid="{D5CDD505-2E9C-101B-9397-08002B2CF9AE}" pid="12" name="MSIP_Label_5bc72e09-8d7d-491f-a3d1-5693fc6e93f6_ContentBits">
    <vt:lpwstr>0</vt:lpwstr>
  </property>
  <property fmtid="{D5CDD505-2E9C-101B-9397-08002B2CF9AE}" pid="13" name="MediaServiceImageTags">
    <vt:lpwstr/>
  </property>
</Properties>
</file>